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4"/>
    <p:sldMasterId id="2147483662" r:id="rId5"/>
    <p:sldMasterId id="2147483674" r:id="rId6"/>
    <p:sldMasterId id="2147483685" r:id="rId7"/>
    <p:sldMasterId id="2147483696" r:id="rId8"/>
    <p:sldMasterId id="2147483707" r:id="rId9"/>
  </p:sldMasterIdLst>
  <p:notesMasterIdLst>
    <p:notesMasterId r:id="rId33"/>
  </p:notesMasterIdLst>
  <p:sldIdLst>
    <p:sldId id="438" r:id="rId10"/>
    <p:sldId id="256" r:id="rId11"/>
    <p:sldId id="432" r:id="rId12"/>
    <p:sldId id="428" r:id="rId13"/>
    <p:sldId id="398" r:id="rId14"/>
    <p:sldId id="429" r:id="rId15"/>
    <p:sldId id="416" r:id="rId16"/>
    <p:sldId id="431" r:id="rId17"/>
    <p:sldId id="425" r:id="rId18"/>
    <p:sldId id="420" r:id="rId19"/>
    <p:sldId id="424" r:id="rId20"/>
    <p:sldId id="423" r:id="rId21"/>
    <p:sldId id="422" r:id="rId22"/>
    <p:sldId id="437" r:id="rId23"/>
    <p:sldId id="418" r:id="rId24"/>
    <p:sldId id="427" r:id="rId25"/>
    <p:sldId id="430" r:id="rId26"/>
    <p:sldId id="434" r:id="rId27"/>
    <p:sldId id="435" r:id="rId28"/>
    <p:sldId id="433" r:id="rId29"/>
    <p:sldId id="436" r:id="rId30"/>
    <p:sldId id="426" r:id="rId31"/>
    <p:sldId id="417" r:id="rId32"/>
  </p:sldIdLst>
  <p:sldSz cx="9144000" cy="6858000" type="screen4x3"/>
  <p:notesSz cx="6858000" cy="9144000"/>
  <p:custDataLst>
    <p:tags r:id="rId34"/>
  </p:custDataLst>
  <p:defaultTextStyle>
    <a:lvl1pPr>
      <a:defRPr sz="2400">
        <a:latin typeface="Univers LT 53 Extended"/>
        <a:ea typeface="Univers LT 53 Extended"/>
        <a:cs typeface="Univers LT 53 Extended"/>
        <a:sym typeface="Univers LT 53 Extended"/>
      </a:defRPr>
    </a:lvl1pPr>
    <a:lvl2pPr indent="457200">
      <a:defRPr sz="2400">
        <a:latin typeface="Univers LT 53 Extended"/>
        <a:ea typeface="Univers LT 53 Extended"/>
        <a:cs typeface="Univers LT 53 Extended"/>
        <a:sym typeface="Univers LT 53 Extended"/>
      </a:defRPr>
    </a:lvl2pPr>
    <a:lvl3pPr indent="914400">
      <a:defRPr sz="2400">
        <a:latin typeface="Univers LT 53 Extended"/>
        <a:ea typeface="Univers LT 53 Extended"/>
        <a:cs typeface="Univers LT 53 Extended"/>
        <a:sym typeface="Univers LT 53 Extended"/>
      </a:defRPr>
    </a:lvl3pPr>
    <a:lvl4pPr indent="1371600">
      <a:defRPr sz="2400">
        <a:latin typeface="Univers LT 53 Extended"/>
        <a:ea typeface="Univers LT 53 Extended"/>
        <a:cs typeface="Univers LT 53 Extended"/>
        <a:sym typeface="Univers LT 53 Extended"/>
      </a:defRPr>
    </a:lvl4pPr>
    <a:lvl5pPr indent="1828800">
      <a:defRPr sz="2400">
        <a:latin typeface="Univers LT 53 Extended"/>
        <a:ea typeface="Univers LT 53 Extended"/>
        <a:cs typeface="Univers LT 53 Extended"/>
        <a:sym typeface="Univers LT 53 Extended"/>
      </a:defRPr>
    </a:lvl5pPr>
    <a:lvl6pPr indent="2286000">
      <a:defRPr sz="2400">
        <a:latin typeface="Univers LT 53 Extended"/>
        <a:ea typeface="Univers LT 53 Extended"/>
        <a:cs typeface="Univers LT 53 Extended"/>
        <a:sym typeface="Univers LT 53 Extended"/>
      </a:defRPr>
    </a:lvl6pPr>
    <a:lvl7pPr indent="2743200">
      <a:defRPr sz="2400">
        <a:latin typeface="Univers LT 53 Extended"/>
        <a:ea typeface="Univers LT 53 Extended"/>
        <a:cs typeface="Univers LT 53 Extended"/>
        <a:sym typeface="Univers LT 53 Extended"/>
      </a:defRPr>
    </a:lvl7pPr>
    <a:lvl8pPr indent="3200400">
      <a:defRPr sz="2400">
        <a:latin typeface="Univers LT 53 Extended"/>
        <a:ea typeface="Univers LT 53 Extended"/>
        <a:cs typeface="Univers LT 53 Extended"/>
        <a:sym typeface="Univers LT 53 Extended"/>
      </a:defRPr>
    </a:lvl8pPr>
    <a:lvl9pPr indent="3657600">
      <a:defRPr sz="2400">
        <a:latin typeface="Univers LT 53 Extended"/>
        <a:ea typeface="Univers LT 53 Extended"/>
        <a:cs typeface="Univers LT 53 Extended"/>
        <a:sym typeface="Univers LT 53 Extended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9A2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FBCECA"/>
          </a:solidFill>
        </a:fill>
      </a:tcStyle>
    </a:wholeTbl>
    <a:band2H>
      <a:tcTxStyle/>
      <a:tcStyle>
        <a:tcBdr/>
        <a:fill>
          <a:solidFill>
            <a:srgbClr val="FDE8E6"/>
          </a:solidFill>
        </a:fill>
      </a:tcStyle>
    </a:band2H>
    <a:firstCol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F54C00"/>
          </a:solidFill>
        </a:fill>
      </a:tcStyle>
    </a:firstCol>
    <a:lastRow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381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F54C00"/>
          </a:solidFill>
        </a:fill>
      </a:tcStyle>
    </a:lastRow>
    <a:firstRow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381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F54C00"/>
          </a:solidFill>
        </a:fill>
      </a:tcStyle>
    </a:firstRow>
  </a:tblStyle>
  <a:tblStyle styleId="{C7B018BB-80A7-4F77-B60F-C8B233D01FF8}" styleName="">
    <a:tblBg/>
    <a:wholeTbl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FDFBF4"/>
          </a:solidFill>
        </a:fill>
      </a:tcStyle>
    </a:wholeTbl>
    <a:band2H>
      <a:tcTxStyle/>
      <a:tcStyle>
        <a:tcBdr/>
        <a:fill>
          <a:solidFill>
            <a:srgbClr val="FEFDF9"/>
          </a:solidFill>
        </a:fill>
      </a:tcStyle>
    </a:band2H>
    <a:firstCol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FBF5E1"/>
          </a:solidFill>
        </a:fill>
      </a:tcStyle>
    </a:firstCol>
    <a:lastRow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381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FBF5E1"/>
          </a:solidFill>
        </a:fill>
      </a:tcStyle>
    </a:lastRow>
    <a:firstRow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381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FBF5E1"/>
          </a:solidFill>
        </a:fill>
      </a:tcStyle>
    </a:firstRow>
  </a:tblStyle>
  <a:tblStyle styleId="{EEE7283C-3CF3-47DC-8721-378D4A62B228}" styleName="">
    <a:tblBg/>
    <a:wholeTbl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D9CDCA"/>
          </a:solidFill>
        </a:fill>
      </a:tcStyle>
    </a:wholeTbl>
    <a:band2H>
      <a:tcTxStyle/>
      <a:tcStyle>
        <a:tcBdr/>
        <a:fill>
          <a:solidFill>
            <a:srgbClr val="EDE8E6"/>
          </a:solidFill>
        </a:fill>
      </a:tcStyle>
    </a:band2H>
    <a:firstCol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874100"/>
          </a:solidFill>
        </a:fill>
      </a:tcStyle>
    </a:firstCol>
    <a:lastRow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381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874100"/>
          </a:solidFill>
        </a:fill>
      </a:tcStyle>
    </a:lastRow>
    <a:firstRow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381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874100"/>
          </a:solidFill>
        </a:fill>
      </a:tcStyle>
    </a:firstRow>
  </a:tblStyle>
  <a:tblStyle styleId="{CF821DB8-F4EB-4A41-A1BA-3FCAFE7338EE}" styleName="">
    <a:tblBg/>
    <a:wholeTbl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9EEC9"/>
          </a:solidFill>
        </a:fill>
      </a:tcStyle>
    </a:band2H>
    <a:firstCol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54C00"/>
          </a:solidFill>
        </a:fill>
      </a:tcStyle>
    </a:firstCol>
    <a:lastRow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9EEC9"/>
          </a:solidFill>
        </a:fill>
      </a:tcStyle>
    </a:lastRow>
    <a:firstRow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54C00"/>
          </a:solidFill>
        </a:fill>
      </a:tcStyle>
    </a:firstRow>
  </a:tblStyle>
  <a:tblStyle styleId="{33BA23B1-9221-436E-865A-0063620EA4FD}" styleName="">
    <a:tblBg/>
    <a:wholeTbl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/>
        </a:fill>
      </a:tcStyle>
    </a:firstCol>
    <a:lastRow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38100" cap="flat">
              <a:solidFill>
                <a:srgbClr val="F9EEC9"/>
              </a:solidFill>
              <a:prstDash val="solid"/>
              <a:bevel/>
            </a:ln>
          </a:top>
          <a:bottom>
            <a:ln w="127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/>
        </a:fill>
      </a:tcStyle>
    </a:lastRow>
    <a:firstRow>
      <a:tcTxStyle b="on" i="on">
        <a:font>
          <a:latin typeface="Univers LT 53 Extended"/>
          <a:ea typeface="Univers LT 53 Extended"/>
          <a:cs typeface="Univers LT 53 Extended"/>
        </a:font>
        <a:srgbClr val="F9EEC9"/>
      </a:tcTxStyle>
      <a:tcStyle>
        <a:tcBdr>
          <a:left>
            <a:ln w="12700" cap="flat">
              <a:solidFill>
                <a:srgbClr val="F9EEC9"/>
              </a:solidFill>
              <a:prstDash val="solid"/>
              <a:bevel/>
            </a:ln>
          </a:left>
          <a:right>
            <a:ln w="12700" cap="flat">
              <a:solidFill>
                <a:srgbClr val="F9EEC9"/>
              </a:solidFill>
              <a:prstDash val="solid"/>
              <a:bevel/>
            </a:ln>
          </a:right>
          <a:top>
            <a:ln w="12700" cap="flat">
              <a:solidFill>
                <a:srgbClr val="F9EEC9"/>
              </a:solidFill>
              <a:prstDash val="solid"/>
              <a:bevel/>
            </a:ln>
          </a:top>
          <a:bottom>
            <a:ln w="38100" cap="flat">
              <a:solidFill>
                <a:srgbClr val="F9EEC9"/>
              </a:solidFill>
              <a:prstDash val="solid"/>
              <a:bevel/>
            </a:ln>
          </a:bottom>
          <a:insideH>
            <a:ln w="12700" cap="flat">
              <a:solidFill>
                <a:srgbClr val="F9EEC9"/>
              </a:solidFill>
              <a:prstDash val="solid"/>
              <a:bevel/>
            </a:ln>
          </a:insideH>
          <a:insideV>
            <a:ln w="12700" cap="flat">
              <a:solidFill>
                <a:srgbClr val="F9EEC9"/>
              </a:solidFill>
              <a:prstDash val="solid"/>
              <a:bevel/>
            </a:ln>
          </a:insideV>
        </a:tcBdr>
        <a:fill>
          <a:solidFill/>
        </a:fill>
      </a:tcStyle>
    </a:firstRow>
  </a:tblStyle>
  <a:tblStyle styleId="{2708684C-4D16-4618-839F-0558EEFCDFE6}" styleName="">
    <a:tblBg/>
    <a:wholeTbl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solidFill>
            <a:srgbClr val="000000">
              <a:alpha val="20000"/>
            </a:srgbClr>
          </a:solidFill>
        </a:fill>
      </a:tcStyle>
    </a:firstCol>
    <a:lastRow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50800" cap="flat">
              <a:solidFill>
                <a:srgbClr val="000000"/>
              </a:solidFill>
              <a:prstDash val="solid"/>
              <a:bevel/>
            </a:ln>
          </a:top>
          <a:bottom>
            <a:ln w="127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lastRow>
    <a:firstRow>
      <a:tcTxStyle b="on" i="on">
        <a:font>
          <a:latin typeface="Univers LT 53 Extended"/>
          <a:ea typeface="Univers LT 53 Extended"/>
          <a:cs typeface="Univers LT 53 Extended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bevel/>
            </a:ln>
          </a:left>
          <a:right>
            <a:ln w="12700" cap="flat">
              <a:solidFill>
                <a:srgbClr val="000000"/>
              </a:solidFill>
              <a:prstDash val="solid"/>
              <a:bevel/>
            </a:ln>
          </a:right>
          <a:top>
            <a:ln w="12700" cap="flat">
              <a:solidFill>
                <a:srgbClr val="000000"/>
              </a:solidFill>
              <a:prstDash val="solid"/>
              <a:bevel/>
            </a:ln>
          </a:top>
          <a:bottom>
            <a:ln w="25400" cap="flat">
              <a:solidFill>
                <a:srgbClr val="000000"/>
              </a:solidFill>
              <a:prstDash val="solid"/>
              <a:bevel/>
            </a:ln>
          </a:bottom>
          <a:insideH>
            <a:ln w="12700" cap="flat">
              <a:solidFill>
                <a:srgbClr val="000000"/>
              </a:solidFill>
              <a:prstDash val="solid"/>
              <a:bevel/>
            </a:ln>
          </a:insideH>
          <a:insideV>
            <a:ln w="12700" cap="flat">
              <a:solidFill>
                <a:srgbClr val="000000"/>
              </a:solidFill>
              <a:prstDash val="solid"/>
              <a:bevel/>
            </a:ln>
          </a:insideV>
        </a:tcBdr>
        <a:fill>
          <a:noFill/>
        </a:fill>
      </a:tcStyle>
    </a:firstRow>
  </a:tblStyle>
  <a:tblStyle styleId="{5940675A-B579-460E-94D1-54222C63F5DA}" styleName="Ingen stil, tabellrutenett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71" autoAdjust="0"/>
    <p:restoredTop sz="83745" autoAdjust="0"/>
  </p:normalViewPr>
  <p:slideViewPr>
    <p:cSldViewPr>
      <p:cViewPr>
        <p:scale>
          <a:sx n="78" d="100"/>
          <a:sy n="78" d="100"/>
        </p:scale>
        <p:origin x="-1026" y="11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238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B7E3EA-C3BB-4D03-BCE2-FC91195584E9}" type="doc">
      <dgm:prSet loTypeId="urn:microsoft.com/office/officeart/2005/8/layout/hChevron3" loCatId="process" qsTypeId="urn:microsoft.com/office/officeart/2005/8/quickstyle/simple1" qsCatId="simple" csTypeId="urn:microsoft.com/office/officeart/2005/8/colors/accent2_2" csCatId="accent2" phldr="1"/>
      <dgm:spPr/>
    </dgm:pt>
    <dgm:pt modelId="{64509B6D-5740-43BF-BBAB-A2C59EC808D5}" type="pres">
      <dgm:prSet presAssocID="{B4B7E3EA-C3BB-4D03-BCE2-FC91195584E9}" presName="Name0" presStyleCnt="0">
        <dgm:presLayoutVars>
          <dgm:dir/>
          <dgm:resizeHandles val="exact"/>
        </dgm:presLayoutVars>
      </dgm:prSet>
      <dgm:spPr/>
    </dgm:pt>
  </dgm:ptLst>
  <dgm:cxnLst>
    <dgm:cxn modelId="{26A4D98B-9147-4240-BDEE-E2EF4115C62C}" type="presOf" srcId="{B4B7E3EA-C3BB-4D03-BCE2-FC91195584E9}" destId="{64509B6D-5740-43BF-BBAB-A2C59EC808D5}" srcOrd="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Shape 60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61" name="Shape 61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</p:spTree>
    <p:extLst>
      <p:ext uri="{BB962C8B-B14F-4D97-AF65-F5344CB8AC3E}">
        <p14:creationId xmlns:p14="http://schemas.microsoft.com/office/powerpoint/2010/main" val="1536548423"/>
      </p:ext>
    </p:extLst>
  </p:cSld>
  <p:clrMap bg1="lt1" tx1="dk1" bg2="lt2" tx2="dk2" accent1="accent1" accent2="accent2" accent3="accent3" accent4="accent4" accent5="accent5" accent6="accent6" hlink="hlink" folHlink="folHlink"/>
  <p:notesStyle>
    <a:lvl1pPr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1pPr>
    <a:lvl2pPr indent="2286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2pPr>
    <a:lvl3pPr indent="4572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3pPr>
    <a:lvl4pPr indent="6858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4pPr>
    <a:lvl5pPr indent="9144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5pPr>
    <a:lvl6pPr indent="11430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6pPr>
    <a:lvl7pPr indent="13716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7pPr>
    <a:lvl8pPr indent="16002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8pPr>
    <a:lvl9pPr indent="1828800" defTabSz="457200">
      <a:lnSpc>
        <a:spcPct val="125000"/>
      </a:lnSpc>
      <a:defRPr sz="2400">
        <a:latin typeface="+mj-lt"/>
        <a:ea typeface="+mj-ea"/>
        <a:cs typeface="+mj-cs"/>
        <a:sym typeface="Avenir Roman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7756568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b-NO" b="0" baseline="0" dirty="0" smtClean="0"/>
              <a:t>Forbruket vårt har </a:t>
            </a:r>
            <a:r>
              <a:rPr lang="nb-NO" b="1" baseline="0" dirty="0" smtClean="0"/>
              <a:t>globale konsekvenser</a:t>
            </a:r>
            <a:r>
              <a:rPr lang="nb-NO" b="0" baseline="0" dirty="0" smtClean="0"/>
              <a:t>, som ikke nødvendigvis syns i norsk statistikk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Forbruk i Norge gir ikke nødvendigvis miljøbelastning i Norge, for fleste varene vi kjøper produseres i </a:t>
            </a:r>
            <a:r>
              <a:rPr lang="nb-NO" b="1" baseline="0" dirty="0" smtClean="0"/>
              <a:t>andre land</a:t>
            </a:r>
            <a:r>
              <a:rPr lang="nb-NO" b="0" baseline="0" dirty="0" smtClean="0"/>
              <a:t>. Kullkraftverkene i Kina fyres opp for å drive fabrikker, som produserer varer som vi kjøper i Vesten. Mesteparten av Kinas klimagassutslipp skyldes produksjon av eksportvarer. Derfor er det litt urettferdig å peke på Kina som den store miljøsynderen, syns vi.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I landbruket har vi en lignende situasjon. I </a:t>
            </a:r>
            <a:r>
              <a:rPr lang="nb-NO" b="1" baseline="0" dirty="0" smtClean="0"/>
              <a:t>Amazonas </a:t>
            </a:r>
            <a:r>
              <a:rPr lang="nb-NO" b="0" baseline="0" dirty="0" smtClean="0"/>
              <a:t>hogges regnskogene ned for å rydde plass til beitemark og </a:t>
            </a:r>
            <a:r>
              <a:rPr lang="nb-NO" b="1" baseline="0" dirty="0" smtClean="0"/>
              <a:t>soyadyrking</a:t>
            </a:r>
            <a:r>
              <a:rPr lang="nb-NO" b="0" baseline="0" dirty="0" smtClean="0"/>
              <a:t>. Den soyaen havner i kraftfôret til dyrene og fisken vi spiser i Norge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Andre steder i verden raseres regnskogen av </a:t>
            </a:r>
            <a:r>
              <a:rPr lang="nb-NO" b="1" baseline="0" dirty="0" smtClean="0"/>
              <a:t>palmeoljeplantasjer</a:t>
            </a:r>
            <a:r>
              <a:rPr lang="nb-NO" b="0" baseline="0" dirty="0" smtClean="0"/>
              <a:t>, for å dyrke palmeolje som til slutt havner blir til lørdagsgodt i Norge. </a:t>
            </a:r>
          </a:p>
          <a:p>
            <a:endParaRPr lang="nb-NO" b="0" baseline="0" dirty="0" smtClean="0"/>
          </a:p>
        </p:txBody>
      </p:sp>
    </p:spTree>
    <p:extLst>
      <p:ext uri="{BB962C8B-B14F-4D97-AF65-F5344CB8AC3E}">
        <p14:creationId xmlns:p14="http://schemas.microsoft.com/office/powerpoint/2010/main" val="26538732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65" name="Shape 65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                         Vi har bare 1 klode</a:t>
            </a: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Det synes åpenbart at vi må redusere det samlede forbruket i verden samtidig som de som har for lite må få nok.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1977 ga partiledere fra et flertall av daværende stortingspartier uttrykk for at forbruket i Norge og andre industriland er høyt nok og at videre materiell vekst og forbruksøkning er uforenlig med global rettferdighet (se J.Bomann-Larsen og Erik Dammann, ”Partiene ved skilleveien”, Gyldendal 1977)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dag er forbruket mye høyere enn i 1977.</a:t>
            </a:r>
          </a:p>
        </p:txBody>
      </p:sp>
    </p:spTree>
    <p:extLst>
      <p:ext uri="{BB962C8B-B14F-4D97-AF65-F5344CB8AC3E}">
        <p14:creationId xmlns:p14="http://schemas.microsoft.com/office/powerpoint/2010/main" val="871486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65" name="Shape 65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                         Vi har bare 1 klode</a:t>
            </a: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Det synes åpenbart at vi må redusere det samlede forbruket i verden samtidig som de som har for lite må få nok.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1977 ga partiledere fra et flertall av daværende stortingspartier uttrykk for at forbruket i Norge og andre industriland er høyt nok og at videre materiell vekst og forbruksøkning er uforenlig med global rettferdighet (se J.Bomann-Larsen og Erik Dammann, ”Partiene ved skilleveien”, Gyldendal 1977)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dag er forbruket mye høyere enn i 1977.</a:t>
            </a:r>
          </a:p>
        </p:txBody>
      </p:sp>
    </p:spTree>
    <p:extLst>
      <p:ext uri="{BB962C8B-B14F-4D97-AF65-F5344CB8AC3E}">
        <p14:creationId xmlns:p14="http://schemas.microsoft.com/office/powerpoint/2010/main" val="1058760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65" name="Shape 65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                         Vi har bare 1 klode</a:t>
            </a: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Det synes åpenbart at vi må redusere det samlede forbruket i verden samtidig som de som har for lite må få nok.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1977 ga partiledere fra et flertall av daværende stortingspartier uttrykk for at forbruket i Norge og andre industriland er høyt nok og at videre materiell vekst og forbruksøkning er uforenlig med global rettferdighet (se J.Bomann-Larsen og Erik Dammann, ”Partiene ved skilleveien”, Gyldendal 1977)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dag er forbruket mye høyere enn i 1977.</a:t>
            </a:r>
          </a:p>
        </p:txBody>
      </p:sp>
    </p:spTree>
    <p:extLst>
      <p:ext uri="{BB962C8B-B14F-4D97-AF65-F5344CB8AC3E}">
        <p14:creationId xmlns:p14="http://schemas.microsoft.com/office/powerpoint/2010/main" val="42622992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65" name="Shape 65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                         Vi har bare 1 klode</a:t>
            </a: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Det synes åpenbart at vi må redusere det samlede forbruket i verden samtidig som de som har for lite må få nok.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1977 ga partiledere fra et flertall av daværende stortingspartier uttrykk for at forbruket i Norge og andre industriland er høyt nok og at videre materiell vekst og forbruksøkning er uforenlig med global rettferdighet (se J.Bomann-Larsen og Erik Dammann, ”Partiene ved skilleveien”, Gyldendal 1977)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dag er forbruket mye høyere enn i 1977.</a:t>
            </a:r>
          </a:p>
        </p:txBody>
      </p:sp>
    </p:spTree>
    <p:extLst>
      <p:ext uri="{BB962C8B-B14F-4D97-AF65-F5344CB8AC3E}">
        <p14:creationId xmlns:p14="http://schemas.microsoft.com/office/powerpoint/2010/main" val="9382154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65" name="Shape 65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                         Vi har bare 1 klode</a:t>
            </a: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Det synes åpenbart at vi må redusere det samlede forbruket i verden samtidig som de som har for lite må få nok.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1977 ga partiledere fra et flertall av daværende stortingspartier uttrykk for at forbruket i Norge og andre industriland er høyt nok og at videre materiell vekst og forbruksøkning er uforenlig med global rettferdighet (se J.Bomann-Larsen og Erik Dammann, ”Partiene ved skilleveien”, Gyldendal 1977)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dag er forbruket mye høyere enn i 1977.</a:t>
            </a:r>
          </a:p>
        </p:txBody>
      </p:sp>
    </p:spTree>
    <p:extLst>
      <p:ext uri="{BB962C8B-B14F-4D97-AF65-F5344CB8AC3E}">
        <p14:creationId xmlns:p14="http://schemas.microsoft.com/office/powerpoint/2010/main" val="218028744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Shape 64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65" name="Shape 65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                         Vi har bare 1 klode</a:t>
            </a: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Det synes åpenbart at vi må redusere det samlede forbruket i verden samtidig som de som har for lite må få nok.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1977 ga partiledere fra et flertall av daværende stortingspartier uttrykk for at forbruket i Norge og andre industriland er høyt nok og at videre materiell vekst og forbruksøkning er uforenlig med global rettferdighet (se J.Bomann-Larsen og Erik Dammann, ”Partiene ved skilleveien”, Gyldendal 1977)</a:t>
            </a:r>
          </a:p>
          <a:p>
            <a:pPr>
              <a:lnSpc>
                <a:spcPts val="3792"/>
              </a:lnSpc>
              <a:defRPr sz="1800"/>
            </a:pPr>
            <a:endParaRPr sz="2600" b="1">
              <a:solidFill>
                <a:srgbClr val="572E2D"/>
              </a:solidFill>
              <a:latin typeface="ChalkboardSE-Bold"/>
              <a:ea typeface="ChalkboardSE-Bold"/>
              <a:cs typeface="ChalkboardSE-Bold"/>
              <a:sym typeface="ChalkboardSE-Bold"/>
            </a:endParaRPr>
          </a:p>
          <a:p>
            <a:pPr>
              <a:lnSpc>
                <a:spcPts val="3792"/>
              </a:lnSpc>
              <a:defRPr sz="1800"/>
            </a:pPr>
            <a:r>
              <a:rPr sz="2600" b="1">
                <a:solidFill>
                  <a:srgbClr val="572E2D"/>
                </a:solidFill>
                <a:latin typeface="ChalkboardSE-Bold"/>
                <a:ea typeface="ChalkboardSE-Bold"/>
                <a:cs typeface="ChalkboardSE-Bold"/>
                <a:sym typeface="ChalkboardSE-Bold"/>
              </a:rPr>
              <a:t>I dag er forbruket mye høyere enn i 1977.</a:t>
            </a:r>
          </a:p>
        </p:txBody>
      </p:sp>
    </p:spTree>
    <p:extLst>
      <p:ext uri="{BB962C8B-B14F-4D97-AF65-F5344CB8AC3E}">
        <p14:creationId xmlns:p14="http://schemas.microsoft.com/office/powerpoint/2010/main" val="135332957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smtClean="0"/>
              <a:t>Takk for meg!</a:t>
            </a: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9486B2FF-4407-432D-A7EF-810641030510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609252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76" name="Shape 7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lnSpc>
                <a:spcPts val="3792"/>
              </a:lnSpc>
              <a:defRPr sz="1800"/>
            </a:pPr>
            <a:r>
              <a:rPr sz="2600">
                <a:solidFill>
                  <a:srgbClr val="572E2D"/>
                </a:solidFill>
                <a:latin typeface="Noteworthy Bold"/>
                <a:ea typeface="Noteworthy Bold"/>
                <a:cs typeface="Noteworthy Bold"/>
                <a:sym typeface="Noteworthy Bold"/>
              </a:rPr>
              <a:t>Norge fikk en god deal, landene måtte i snitt redusere med 5,2 %</a:t>
            </a:r>
          </a:p>
          <a:p>
            <a:pPr>
              <a:lnSpc>
                <a:spcPts val="3792"/>
              </a:lnSpc>
              <a:defRPr sz="1800"/>
            </a:pPr>
            <a:r>
              <a:rPr sz="2600">
                <a:solidFill>
                  <a:srgbClr val="572E2D"/>
                </a:solidFill>
                <a:latin typeface="Noteworthy Bold"/>
                <a:ea typeface="Noteworthy Bold"/>
                <a:cs typeface="Noteworthy Bold"/>
                <a:sym typeface="Noteworthy Bold"/>
              </a:rPr>
              <a:t>USA har aldri ratifisert, selv om de skrev under i 97, Al Gore var da visepresident og en viktig faktor i å sikre avtalen </a:t>
            </a:r>
          </a:p>
          <a:p>
            <a:pPr>
              <a:lnSpc>
                <a:spcPts val="3792"/>
              </a:lnSpc>
              <a:defRPr sz="1800"/>
            </a:pPr>
            <a:r>
              <a:rPr sz="2600">
                <a:solidFill>
                  <a:srgbClr val="572E2D"/>
                </a:solidFill>
                <a:latin typeface="Noteworthy Bold"/>
                <a:ea typeface="Noteworthy Bold"/>
                <a:cs typeface="Noteworthy Bold"/>
                <a:sym typeface="Noteworthy Bold"/>
              </a:rPr>
              <a:t>Kyoto trådte i kraft i 2005 da Russland også ratifiserte. USA og Australia ikke med. </a:t>
            </a:r>
          </a:p>
          <a:p>
            <a:pPr>
              <a:lnSpc>
                <a:spcPts val="3792"/>
              </a:lnSpc>
              <a:defRPr sz="1800"/>
            </a:pPr>
            <a:r>
              <a:rPr sz="2600">
                <a:solidFill>
                  <a:srgbClr val="572E2D"/>
                </a:solidFill>
                <a:latin typeface="Noteworthy Bold"/>
                <a:ea typeface="Noteworthy Bold"/>
                <a:cs typeface="Noteworthy Bold"/>
                <a:sym typeface="Noteworthy Bold"/>
              </a:rPr>
              <a:t>Totale utslipp fra forbrenning av fossile kilder er 21 mrd tonn CO2 i 2004, 41% fra kull, 39 fra olje og 20 fra gass. (Tim Flannery – Værmakerne)</a:t>
            </a:r>
          </a:p>
        </p:txBody>
      </p:sp>
    </p:spTree>
    <p:extLst>
      <p:ext uri="{BB962C8B-B14F-4D97-AF65-F5344CB8AC3E}">
        <p14:creationId xmlns:p14="http://schemas.microsoft.com/office/powerpoint/2010/main" val="3948902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46" name="Shape 4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>
            <a:lvl1pPr>
              <a:lnSpc>
                <a:spcPts val="3500"/>
              </a:lnSpc>
              <a:defRPr>
                <a:solidFill>
                  <a:srgbClr val="572E2D"/>
                </a:solidFill>
                <a:latin typeface="Noteworthy Bold"/>
                <a:ea typeface="Noteworthy Bold"/>
                <a:cs typeface="Noteworthy Bold"/>
                <a:sym typeface="Noteworthy Bold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600"/>
              <a:t>Skal vi ta vare på miljøet må flere bli med. Langsiktig styrke miljøorg.</a:t>
            </a:r>
          </a:p>
        </p:txBody>
      </p:sp>
    </p:spTree>
    <p:extLst>
      <p:ext uri="{BB962C8B-B14F-4D97-AF65-F5344CB8AC3E}">
        <p14:creationId xmlns:p14="http://schemas.microsoft.com/office/powerpoint/2010/main" val="319016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 noRot="1" noChangeAspect="1"/>
          </p:cNvSpPr>
          <p:nvPr>
            <p:ph type="sldImg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endParaRPr/>
          </a:p>
        </p:txBody>
      </p:sp>
      <p:sp>
        <p:nvSpPr>
          <p:cNvPr id="76" name="Shape 76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pPr>
              <a:lnSpc>
                <a:spcPts val="3792"/>
              </a:lnSpc>
              <a:defRPr sz="1800"/>
            </a:pPr>
            <a:r>
              <a:rPr sz="2600">
                <a:solidFill>
                  <a:srgbClr val="572E2D"/>
                </a:solidFill>
                <a:latin typeface="Noteworthy Bold"/>
                <a:ea typeface="Noteworthy Bold"/>
                <a:cs typeface="Noteworthy Bold"/>
                <a:sym typeface="Noteworthy Bold"/>
              </a:rPr>
              <a:t>Norge fikk en god deal, landene måtte i snitt redusere med 5,2 %</a:t>
            </a:r>
          </a:p>
          <a:p>
            <a:pPr>
              <a:lnSpc>
                <a:spcPts val="3792"/>
              </a:lnSpc>
              <a:defRPr sz="1800"/>
            </a:pPr>
            <a:r>
              <a:rPr sz="2600">
                <a:solidFill>
                  <a:srgbClr val="572E2D"/>
                </a:solidFill>
                <a:latin typeface="Noteworthy Bold"/>
                <a:ea typeface="Noteworthy Bold"/>
                <a:cs typeface="Noteworthy Bold"/>
                <a:sym typeface="Noteworthy Bold"/>
              </a:rPr>
              <a:t>USA har aldri ratifisert, selv om de skrev under i 97, Al Gore var da visepresident og en viktig faktor i å sikre avtalen </a:t>
            </a:r>
          </a:p>
          <a:p>
            <a:pPr>
              <a:lnSpc>
                <a:spcPts val="3792"/>
              </a:lnSpc>
              <a:defRPr sz="1800"/>
            </a:pPr>
            <a:r>
              <a:rPr sz="2600">
                <a:solidFill>
                  <a:srgbClr val="572E2D"/>
                </a:solidFill>
                <a:latin typeface="Noteworthy Bold"/>
                <a:ea typeface="Noteworthy Bold"/>
                <a:cs typeface="Noteworthy Bold"/>
                <a:sym typeface="Noteworthy Bold"/>
              </a:rPr>
              <a:t>Kyoto trådte i kraft i 2005 da Russland også ratifiserte. USA og Australia ikke med. </a:t>
            </a:r>
          </a:p>
          <a:p>
            <a:pPr>
              <a:lnSpc>
                <a:spcPts val="3792"/>
              </a:lnSpc>
              <a:defRPr sz="1800"/>
            </a:pPr>
            <a:r>
              <a:rPr sz="2600">
                <a:solidFill>
                  <a:srgbClr val="572E2D"/>
                </a:solidFill>
                <a:latin typeface="Noteworthy Bold"/>
                <a:ea typeface="Noteworthy Bold"/>
                <a:cs typeface="Noteworthy Bold"/>
                <a:sym typeface="Noteworthy Bold"/>
              </a:rPr>
              <a:t>Totale utslipp fra forbrenning av fossile kilder er 21 mrd tonn CO2 i 2004, 41% fra kull, 39 fra olje og 20 fra gass. (Tim Flannery – Værmakerne)</a:t>
            </a:r>
          </a:p>
        </p:txBody>
      </p:sp>
    </p:spTree>
    <p:extLst>
      <p:ext uri="{BB962C8B-B14F-4D97-AF65-F5344CB8AC3E}">
        <p14:creationId xmlns:p14="http://schemas.microsoft.com/office/powerpoint/2010/main" val="436389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b-NO" b="0" baseline="0" dirty="0" smtClean="0"/>
              <a:t>Forbruket vårt har </a:t>
            </a:r>
            <a:r>
              <a:rPr lang="nb-NO" b="1" baseline="0" dirty="0" smtClean="0"/>
              <a:t>globale konsekvenser</a:t>
            </a:r>
            <a:r>
              <a:rPr lang="nb-NO" b="0" baseline="0" dirty="0" smtClean="0"/>
              <a:t>, som ikke nødvendigvis syns i norsk statistikk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Forbruk i Norge gir ikke nødvendigvis miljøbelastning i Norge, for fleste varene vi kjøper produseres i </a:t>
            </a:r>
            <a:r>
              <a:rPr lang="nb-NO" b="1" baseline="0" dirty="0" smtClean="0"/>
              <a:t>andre land</a:t>
            </a:r>
            <a:r>
              <a:rPr lang="nb-NO" b="0" baseline="0" dirty="0" smtClean="0"/>
              <a:t>. Kullkraftverkene i Kina fyres opp for å drive fabrikker, som produserer varer som vi kjøper i Vesten. Mesteparten av Kinas klimagassutslipp skyldes produksjon av eksportvarer. Derfor er det litt urettferdig å peke på Kina som den store miljøsynderen, syns vi.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I landbruket har vi en lignende situasjon. I </a:t>
            </a:r>
            <a:r>
              <a:rPr lang="nb-NO" b="1" baseline="0" dirty="0" smtClean="0"/>
              <a:t>Amazonas </a:t>
            </a:r>
            <a:r>
              <a:rPr lang="nb-NO" b="0" baseline="0" dirty="0" smtClean="0"/>
              <a:t>hogges regnskogene ned for å rydde plass til beitemark og </a:t>
            </a:r>
            <a:r>
              <a:rPr lang="nb-NO" b="1" baseline="0" dirty="0" smtClean="0"/>
              <a:t>soyadyrking</a:t>
            </a:r>
            <a:r>
              <a:rPr lang="nb-NO" b="0" baseline="0" dirty="0" smtClean="0"/>
              <a:t>. Den soyaen havner i kraftfôret til dyrene og fisken vi spiser i Norge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Andre steder i verden raseres regnskogen av </a:t>
            </a:r>
            <a:r>
              <a:rPr lang="nb-NO" b="1" baseline="0" dirty="0" smtClean="0"/>
              <a:t>palmeoljeplantasjer</a:t>
            </a:r>
            <a:r>
              <a:rPr lang="nb-NO" b="0" baseline="0" dirty="0" smtClean="0"/>
              <a:t>, for å dyrke palmeolje som til slutt havner blir til lørdagsgodt i Norge. </a:t>
            </a:r>
          </a:p>
          <a:p>
            <a:endParaRPr lang="nb-NO" b="0" baseline="0" dirty="0" smtClean="0"/>
          </a:p>
        </p:txBody>
      </p:sp>
    </p:spTree>
    <p:extLst>
      <p:ext uri="{BB962C8B-B14F-4D97-AF65-F5344CB8AC3E}">
        <p14:creationId xmlns:p14="http://schemas.microsoft.com/office/powerpoint/2010/main" val="20732195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b-NO" b="0" baseline="0" dirty="0" smtClean="0"/>
              <a:t>Forbruket vårt har </a:t>
            </a:r>
            <a:r>
              <a:rPr lang="nb-NO" b="1" baseline="0" dirty="0" smtClean="0"/>
              <a:t>globale konsekvenser</a:t>
            </a:r>
            <a:r>
              <a:rPr lang="nb-NO" b="0" baseline="0" dirty="0" smtClean="0"/>
              <a:t>, som ikke nødvendigvis syns i norsk statistikk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Forbruk i Norge gir ikke nødvendigvis miljøbelastning i Norge, for fleste varene vi kjøper produseres i </a:t>
            </a:r>
            <a:r>
              <a:rPr lang="nb-NO" b="1" baseline="0" dirty="0" smtClean="0"/>
              <a:t>andre land</a:t>
            </a:r>
            <a:r>
              <a:rPr lang="nb-NO" b="0" baseline="0" dirty="0" smtClean="0"/>
              <a:t>. Kullkraftverkene i Kina fyres opp for å drive fabrikker, som produserer varer som vi kjøper i Vesten. Mesteparten av Kinas klimagassutslipp skyldes produksjon av eksportvarer. Derfor er det litt urettferdig å peke på Kina som den store miljøsynderen, syns vi.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I landbruket har vi en lignende situasjon. I </a:t>
            </a:r>
            <a:r>
              <a:rPr lang="nb-NO" b="1" baseline="0" dirty="0" smtClean="0"/>
              <a:t>Amazonas </a:t>
            </a:r>
            <a:r>
              <a:rPr lang="nb-NO" b="0" baseline="0" dirty="0" smtClean="0"/>
              <a:t>hogges regnskogene ned for å rydde plass til beitemark og </a:t>
            </a:r>
            <a:r>
              <a:rPr lang="nb-NO" b="1" baseline="0" dirty="0" smtClean="0"/>
              <a:t>soyadyrking</a:t>
            </a:r>
            <a:r>
              <a:rPr lang="nb-NO" b="0" baseline="0" dirty="0" smtClean="0"/>
              <a:t>. Den soyaen havner i kraftfôret til dyrene og fisken vi spiser i Norge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Andre steder i verden raseres regnskogen av </a:t>
            </a:r>
            <a:r>
              <a:rPr lang="nb-NO" b="1" baseline="0" dirty="0" smtClean="0"/>
              <a:t>palmeoljeplantasjer</a:t>
            </a:r>
            <a:r>
              <a:rPr lang="nb-NO" b="0" baseline="0" dirty="0" smtClean="0"/>
              <a:t>, for å dyrke palmeolje som til slutt havner blir til lørdagsgodt i Norge. </a:t>
            </a:r>
          </a:p>
          <a:p>
            <a:endParaRPr lang="nb-NO" b="0" baseline="0" dirty="0" smtClean="0"/>
          </a:p>
        </p:txBody>
      </p:sp>
    </p:spTree>
    <p:extLst>
      <p:ext uri="{BB962C8B-B14F-4D97-AF65-F5344CB8AC3E}">
        <p14:creationId xmlns:p14="http://schemas.microsoft.com/office/powerpoint/2010/main" val="6819145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b-NO" b="0" baseline="0" dirty="0" smtClean="0"/>
              <a:t>Forbruket vårt har </a:t>
            </a:r>
            <a:r>
              <a:rPr lang="nb-NO" b="1" baseline="0" dirty="0" smtClean="0"/>
              <a:t>globale konsekvenser</a:t>
            </a:r>
            <a:r>
              <a:rPr lang="nb-NO" b="0" baseline="0" dirty="0" smtClean="0"/>
              <a:t>, som ikke nødvendigvis syns i norsk statistikk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Forbruk i Norge gir ikke nødvendigvis miljøbelastning i Norge, for fleste varene vi kjøper produseres i </a:t>
            </a:r>
            <a:r>
              <a:rPr lang="nb-NO" b="1" baseline="0" dirty="0" smtClean="0"/>
              <a:t>andre land</a:t>
            </a:r>
            <a:r>
              <a:rPr lang="nb-NO" b="0" baseline="0" dirty="0" smtClean="0"/>
              <a:t>. Kullkraftverkene i Kina fyres opp for å drive fabrikker, som produserer varer som vi kjøper i Vesten. Mesteparten av Kinas klimagassutslipp skyldes produksjon av eksportvarer. Derfor er det litt urettferdig å peke på Kina som den store miljøsynderen, syns vi.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I landbruket har vi en lignende situasjon. I </a:t>
            </a:r>
            <a:r>
              <a:rPr lang="nb-NO" b="1" baseline="0" dirty="0" smtClean="0"/>
              <a:t>Amazonas </a:t>
            </a:r>
            <a:r>
              <a:rPr lang="nb-NO" b="0" baseline="0" dirty="0" smtClean="0"/>
              <a:t>hogges regnskogene ned for å rydde plass til beitemark og </a:t>
            </a:r>
            <a:r>
              <a:rPr lang="nb-NO" b="1" baseline="0" dirty="0" smtClean="0"/>
              <a:t>soyadyrking</a:t>
            </a:r>
            <a:r>
              <a:rPr lang="nb-NO" b="0" baseline="0" dirty="0" smtClean="0"/>
              <a:t>. Den soyaen havner i kraftfôret til dyrene og fisken vi spiser i Norge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Andre steder i verden raseres regnskogen av </a:t>
            </a:r>
            <a:r>
              <a:rPr lang="nb-NO" b="1" baseline="0" dirty="0" smtClean="0"/>
              <a:t>palmeoljeplantasjer</a:t>
            </a:r>
            <a:r>
              <a:rPr lang="nb-NO" b="0" baseline="0" dirty="0" smtClean="0"/>
              <a:t>, for å dyrke palmeolje som til slutt havner blir til lørdagsgodt i Norge. </a:t>
            </a:r>
          </a:p>
          <a:p>
            <a:endParaRPr lang="nb-NO" b="0" baseline="0" dirty="0" smtClean="0"/>
          </a:p>
        </p:txBody>
      </p:sp>
    </p:spTree>
    <p:extLst>
      <p:ext uri="{BB962C8B-B14F-4D97-AF65-F5344CB8AC3E}">
        <p14:creationId xmlns:p14="http://schemas.microsoft.com/office/powerpoint/2010/main" val="26961053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b-NO" b="0" baseline="0" dirty="0" smtClean="0"/>
              <a:t>Forbruket vårt har </a:t>
            </a:r>
            <a:r>
              <a:rPr lang="nb-NO" b="1" baseline="0" dirty="0" smtClean="0"/>
              <a:t>globale konsekvenser</a:t>
            </a:r>
            <a:r>
              <a:rPr lang="nb-NO" b="0" baseline="0" dirty="0" smtClean="0"/>
              <a:t>, som ikke nødvendigvis syns i norsk statistikk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Forbruk i Norge gir ikke nødvendigvis miljøbelastning i Norge, for fleste varene vi kjøper produseres i </a:t>
            </a:r>
            <a:r>
              <a:rPr lang="nb-NO" b="1" baseline="0" dirty="0" smtClean="0"/>
              <a:t>andre land</a:t>
            </a:r>
            <a:r>
              <a:rPr lang="nb-NO" b="0" baseline="0" dirty="0" smtClean="0"/>
              <a:t>. Kullkraftverkene i Kina fyres opp for å drive fabrikker, som produserer varer som vi kjøper i Vesten. Mesteparten av Kinas klimagassutslipp skyldes produksjon av eksportvarer. Derfor er det litt urettferdig å peke på Kina som den store miljøsynderen, syns vi.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I landbruket har vi en lignende situasjon. I </a:t>
            </a:r>
            <a:r>
              <a:rPr lang="nb-NO" b="1" baseline="0" dirty="0" smtClean="0"/>
              <a:t>Amazonas </a:t>
            </a:r>
            <a:r>
              <a:rPr lang="nb-NO" b="0" baseline="0" dirty="0" smtClean="0"/>
              <a:t>hogges regnskogene ned for å rydde plass til beitemark og </a:t>
            </a:r>
            <a:r>
              <a:rPr lang="nb-NO" b="1" baseline="0" dirty="0" smtClean="0"/>
              <a:t>soyadyrking</a:t>
            </a:r>
            <a:r>
              <a:rPr lang="nb-NO" b="0" baseline="0" dirty="0" smtClean="0"/>
              <a:t>. Den soyaen havner i kraftfôret til dyrene og fisken vi spiser i Norge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Andre steder i verden raseres regnskogen av </a:t>
            </a:r>
            <a:r>
              <a:rPr lang="nb-NO" b="1" baseline="0" dirty="0" smtClean="0"/>
              <a:t>palmeoljeplantasjer</a:t>
            </a:r>
            <a:r>
              <a:rPr lang="nb-NO" b="0" baseline="0" dirty="0" smtClean="0"/>
              <a:t>, for å dyrke palmeolje som til slutt havner blir til lørdagsgodt i Norge. </a:t>
            </a:r>
          </a:p>
          <a:p>
            <a:endParaRPr lang="nb-NO" b="0" baseline="0" dirty="0" smtClean="0"/>
          </a:p>
        </p:txBody>
      </p:sp>
    </p:spTree>
    <p:extLst>
      <p:ext uri="{BB962C8B-B14F-4D97-AF65-F5344CB8AC3E}">
        <p14:creationId xmlns:p14="http://schemas.microsoft.com/office/powerpoint/2010/main" val="2179762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419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b-NO" b="0" baseline="0" dirty="0" smtClean="0"/>
              <a:t>Forbruket vårt har </a:t>
            </a:r>
            <a:r>
              <a:rPr lang="nb-NO" b="1" baseline="0" dirty="0" smtClean="0"/>
              <a:t>globale konsekvenser</a:t>
            </a:r>
            <a:r>
              <a:rPr lang="nb-NO" b="0" baseline="0" dirty="0" smtClean="0"/>
              <a:t>, som ikke nødvendigvis syns i norsk statistikk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Forbruk i Norge gir ikke nødvendigvis miljøbelastning i Norge, for fleste varene vi kjøper produseres i </a:t>
            </a:r>
            <a:r>
              <a:rPr lang="nb-NO" b="1" baseline="0" dirty="0" smtClean="0"/>
              <a:t>andre land</a:t>
            </a:r>
            <a:r>
              <a:rPr lang="nb-NO" b="0" baseline="0" dirty="0" smtClean="0"/>
              <a:t>. Kullkraftverkene i Kina fyres opp for å drive fabrikker, som produserer varer som vi kjøper i Vesten. Mesteparten av Kinas klimagassutslipp skyldes produksjon av eksportvarer. Derfor er det litt urettferdig å peke på Kina som den store miljøsynderen, syns vi.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I landbruket har vi en lignende situasjon. I </a:t>
            </a:r>
            <a:r>
              <a:rPr lang="nb-NO" b="1" baseline="0" dirty="0" smtClean="0"/>
              <a:t>Amazonas </a:t>
            </a:r>
            <a:r>
              <a:rPr lang="nb-NO" b="0" baseline="0" dirty="0" smtClean="0"/>
              <a:t>hogges regnskogene ned for å rydde plass til beitemark og </a:t>
            </a:r>
            <a:r>
              <a:rPr lang="nb-NO" b="1" baseline="0" dirty="0" smtClean="0"/>
              <a:t>soyadyrking</a:t>
            </a:r>
            <a:r>
              <a:rPr lang="nb-NO" b="0" baseline="0" dirty="0" smtClean="0"/>
              <a:t>. Den soyaen havner i kraftfôret til dyrene og fisken vi spiser i Norge. </a:t>
            </a:r>
          </a:p>
          <a:p>
            <a:endParaRPr lang="nb-NO" b="0" baseline="0" dirty="0" smtClean="0"/>
          </a:p>
          <a:p>
            <a:r>
              <a:rPr lang="nb-NO" b="0" baseline="0" dirty="0" smtClean="0"/>
              <a:t>Andre steder i verden raseres regnskogen av </a:t>
            </a:r>
            <a:r>
              <a:rPr lang="nb-NO" b="1" baseline="0" dirty="0" smtClean="0"/>
              <a:t>palmeoljeplantasjer</a:t>
            </a:r>
            <a:r>
              <a:rPr lang="nb-NO" b="0" baseline="0" dirty="0" smtClean="0"/>
              <a:t>, for å dyrke palmeolje som til slutt havner blir til lørdagsgodt i Norge. </a:t>
            </a:r>
          </a:p>
          <a:p>
            <a:endParaRPr lang="nb-NO" b="0" baseline="0" dirty="0" smtClean="0"/>
          </a:p>
        </p:txBody>
      </p:sp>
    </p:spTree>
    <p:extLst>
      <p:ext uri="{BB962C8B-B14F-4D97-AF65-F5344CB8AC3E}">
        <p14:creationId xmlns:p14="http://schemas.microsoft.com/office/powerpoint/2010/main" val="12361469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6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oleObject" Target="../embeddings/oleObject5.bin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oleObject" Target="../embeddings/oleObject6.bin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oleObject" Target="../embeddings/oleObject7.bin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3.jpeg" descr="forside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17463" y="-12700"/>
            <a:ext cx="9180513" cy="6884989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image4.jpeg" descr="fivhlogo1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334000" y="5907088"/>
            <a:ext cx="3649663" cy="798512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10"/>
          <p:cNvSpPr>
            <a:spLocks noGrp="1"/>
          </p:cNvSpPr>
          <p:nvPr>
            <p:ph type="title"/>
          </p:nvPr>
        </p:nvSpPr>
        <p:spPr>
          <a:xfrm>
            <a:off x="609600" y="4419600"/>
            <a:ext cx="6172200" cy="106680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nb-NO" sz="2000" b="1" smtClean="0">
                <a:solidFill>
                  <a:srgbClr val="89A218"/>
                </a:solidFill>
              </a:rPr>
              <a:t>Klikk for å redigere tittelstil</a:t>
            </a:r>
            <a:endParaRPr sz="2000" b="1">
              <a:solidFill>
                <a:srgbClr val="89A218"/>
              </a:solidFill>
            </a:endParaRP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609600" y="5486400"/>
            <a:ext cx="6172200" cy="13716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ClrTx/>
              <a:buSzTx/>
              <a:buFontTx/>
              <a:buNone/>
              <a:defRPr sz="1400"/>
            </a:lvl1pPr>
            <a:lvl2pPr marL="623887" indent="-166687">
              <a:spcBef>
                <a:spcPts val="300"/>
              </a:spcBef>
              <a:buClrTx/>
              <a:buFontTx/>
              <a:defRPr sz="1400"/>
            </a:lvl2pPr>
            <a:lvl3pPr marL="1092200" indent="-177800">
              <a:spcBef>
                <a:spcPts val="300"/>
              </a:spcBef>
              <a:buClrTx/>
              <a:buFontTx/>
              <a:defRPr sz="1400"/>
            </a:lvl3pPr>
            <a:lvl4pPr marL="1549400" indent="-177800">
              <a:spcBef>
                <a:spcPts val="300"/>
              </a:spcBef>
              <a:buClrTx/>
              <a:buFontTx/>
              <a:defRPr sz="1400"/>
            </a:lvl4pPr>
            <a:lvl5pPr marL="2006600" indent="-177800">
              <a:spcBef>
                <a:spcPts val="300"/>
              </a:spcBef>
              <a:buClrTx/>
              <a:buFontTx/>
              <a:defRPr sz="1400"/>
            </a:lvl5pPr>
          </a:lstStyle>
          <a:p>
            <a:pPr lvl="0">
              <a:defRPr sz="1800"/>
            </a:pPr>
            <a:r>
              <a:rPr lang="nb-NO" sz="1400" smtClean="0"/>
              <a:t>Klikk for å redigere tekststiler i malen</a:t>
            </a:r>
          </a:p>
          <a:p>
            <a:pPr lvl="1">
              <a:defRPr sz="1800"/>
            </a:pPr>
            <a:r>
              <a:rPr lang="nb-NO" sz="1400" smtClean="0"/>
              <a:t>Andre nivå</a:t>
            </a:r>
          </a:p>
          <a:p>
            <a:pPr lvl="2">
              <a:defRPr sz="1800"/>
            </a:pPr>
            <a:r>
              <a:rPr lang="nb-NO" sz="1400" smtClean="0"/>
              <a:t>Tredje nivå</a:t>
            </a:r>
          </a:p>
          <a:p>
            <a:pPr lvl="3">
              <a:defRPr sz="1800"/>
            </a:pPr>
            <a:r>
              <a:rPr lang="nb-NO" sz="1400" smtClean="0"/>
              <a:t>Fjerde nivå</a:t>
            </a:r>
          </a:p>
          <a:p>
            <a:pPr lvl="4">
              <a:defRPr sz="1800"/>
            </a:pPr>
            <a:r>
              <a:rPr lang="nb-NO" sz="1400" smtClean="0"/>
              <a:t>Femte nivå</a:t>
            </a:r>
            <a:endParaRPr sz="1400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/>
          </p:nvPr>
        </p:nvSpPr>
        <p:spPr>
          <a:xfrm>
            <a:off x="533400" y="457200"/>
            <a:ext cx="8229600" cy="5257800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3" name="Rectangle 30"/>
          <p:cNvSpPr>
            <a:spLocks noGrp="1" noChangeArrowheads="1"/>
          </p:cNvSpPr>
          <p:nvPr>
            <p:ph type="dt" sz="half" idx="10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4" name="Rectangle 31"/>
          <p:cNvSpPr>
            <a:spLocks noGrp="1" noChangeArrowheads="1"/>
          </p:cNvSpPr>
          <p:nvPr>
            <p:ph type="ftr" sz="quarter" idx="11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5" name="Rectangle 32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0476BB-73ED-42CC-9F1B-A9147E71E25A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16342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Text Placehold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394189" y="4797031"/>
            <a:ext cx="4012470" cy="21076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393935" y="2174048"/>
            <a:ext cx="4024200" cy="788227"/>
          </a:xfrm>
          <a:prstGeom prst="rect">
            <a:avLst/>
          </a:prstGeom>
        </p:spPr>
        <p:txBody>
          <a:bodyPr/>
          <a:lstStyle>
            <a:lvl1pPr marL="0" marR="0" indent="0" defTabSz="884328" rtl="0" eaLnBrk="0" fontAlgn="base" latinLnBrk="0" hangingPunct="0">
              <a:lnSpc>
                <a:spcPts val="2585"/>
              </a:lnSpc>
              <a:spcBef>
                <a:spcPct val="0"/>
              </a:spcBef>
              <a:spcAft>
                <a:spcPct val="0"/>
              </a:spcAft>
              <a:tabLst/>
              <a:defRPr sz="2585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pic>
        <p:nvPicPr>
          <p:cNvPr id="6" name="Picture 225" descr="R:\supportfunksjoner\Marked\Marked_for_alle\Logoer\Deloitte\Word og Powerpoint\Deloitte RGB Office.em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557" y="432160"/>
            <a:ext cx="2035420" cy="41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4189" y="2961708"/>
            <a:ext cx="4023946" cy="9824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585"/>
              </a:lnSpc>
              <a:spcBef>
                <a:spcPts val="0"/>
              </a:spcBef>
              <a:defRPr sz="2585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890407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290515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391759" y="6583304"/>
            <a:ext cx="346075" cy="12824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038"/>
              </a:lnSpc>
              <a:defRPr sz="738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4190" y="1135401"/>
            <a:ext cx="8354157" cy="24096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477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4189" y="1384300"/>
            <a:ext cx="8350251" cy="4933950"/>
          </a:xfrm>
          <a:prstGeom prst="rect">
            <a:avLst/>
          </a:prstGeom>
        </p:spPr>
        <p:txBody>
          <a:bodyPr wrap="square" lIns="0" tIns="0" rIns="0" bIns="0"/>
          <a:lstStyle>
            <a:lvl1pPr marL="167058" indent="-167058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292">
                <a:solidFill>
                  <a:schemeClr val="tx2"/>
                </a:solidFill>
              </a:defRPr>
            </a:lvl1pPr>
            <a:lvl2pPr marL="332651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2pPr>
            <a:lvl3pPr marL="499709" indent="-158265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3pPr>
            <a:lvl4pPr marL="656509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4pPr>
            <a:lvl5pPr marL="822102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5pPr>
            <a:lvl6pPr marL="830790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996948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163106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329264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2797045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6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290515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391759" y="6583304"/>
            <a:ext cx="346075" cy="12824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038"/>
              </a:lnSpc>
              <a:defRPr sz="738" b="0">
                <a:solidFill>
                  <a:schemeClr val="tx2"/>
                </a:solidFill>
              </a:defRPr>
            </a:lvl1pPr>
          </a:lstStyle>
          <a:p>
            <a:pPr lvl="0"/>
            <a:fld id="{86CB4B4D-7CA3-9044-876B-883B54F8677D}" type="slidenum">
              <a:rPr lang="nb-NO" smtClean="0"/>
              <a:t>‹#›</a:t>
            </a:fld>
            <a:endParaRPr lang="nb-NO"/>
          </a:p>
        </p:txBody>
      </p:sp>
      <p:sp>
        <p:nvSpPr>
          <p:cNvPr id="17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4189" y="1130370"/>
            <a:ext cx="4023946" cy="24096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477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750777" y="1130370"/>
            <a:ext cx="3997569" cy="24096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477" b="1"/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90125" y="1383677"/>
            <a:ext cx="4021259" cy="4929187"/>
          </a:xfrm>
          <a:prstGeom prst="rect">
            <a:avLst/>
          </a:prstGeom>
        </p:spPr>
        <p:txBody>
          <a:bodyPr wrap="square" lIns="0" tIns="0" rIns="0" bIns="0"/>
          <a:lstStyle>
            <a:lvl1pPr marL="167058" indent="-167058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292">
                <a:solidFill>
                  <a:schemeClr val="tx2"/>
                </a:solidFill>
              </a:defRPr>
            </a:lvl1pPr>
            <a:lvl2pPr marL="332651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2pPr>
            <a:lvl3pPr marL="499709" indent="-158265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3pPr>
            <a:lvl4pPr marL="656509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4pPr>
            <a:lvl5pPr marL="822102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5pPr>
            <a:lvl6pPr marL="830790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996948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163106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329264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750777" y="1383678"/>
            <a:ext cx="3996350" cy="4933950"/>
          </a:xfrm>
          <a:prstGeom prst="rect">
            <a:avLst/>
          </a:prstGeom>
        </p:spPr>
        <p:txBody>
          <a:bodyPr wrap="square" lIns="0" tIns="0" rIns="0" bIns="0"/>
          <a:lstStyle>
            <a:lvl1pPr marL="167058" indent="-167058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292">
                <a:solidFill>
                  <a:schemeClr val="tx2"/>
                </a:solidFill>
              </a:defRPr>
            </a:lvl1pPr>
            <a:lvl2pPr marL="332651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2pPr>
            <a:lvl3pPr marL="499709" indent="-158265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3pPr>
            <a:lvl4pPr marL="656509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4pPr>
            <a:lvl5pPr marL="822102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5pPr>
            <a:lvl6pPr marL="830790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996948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163106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329264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522649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objec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0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290515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394189" y="1379195"/>
            <a:ext cx="4023946" cy="4932362"/>
          </a:xfrm>
          <a:prstGeom prst="rect">
            <a:avLst/>
          </a:prstGeom>
        </p:spPr>
        <p:txBody>
          <a:bodyPr lIns="0" tIns="0" rIns="0" bIns="0"/>
          <a:lstStyle>
            <a:lvl1pPr marL="167058" indent="-167058">
              <a:lnSpc>
                <a:spcPct val="100000"/>
              </a:lnSpc>
              <a:spcBef>
                <a:spcPts val="554"/>
              </a:spcBef>
              <a:buFont typeface="Arial" pitchFamily="34" charset="0"/>
              <a:buChar char="•"/>
              <a:defRPr sz="1292"/>
            </a:lvl1pPr>
            <a:lvl2pPr marL="334116" indent="-167058">
              <a:spcBef>
                <a:spcPts val="554"/>
              </a:spcBef>
              <a:buFont typeface="Arial" pitchFamily="34" charset="0"/>
              <a:buChar char="‒"/>
              <a:defRPr sz="1108"/>
            </a:lvl2pPr>
            <a:lvl3pPr marL="501174" indent="-167058">
              <a:lnSpc>
                <a:spcPct val="100000"/>
              </a:lnSpc>
              <a:spcBef>
                <a:spcPts val="554"/>
              </a:spcBef>
              <a:buFont typeface="Arial" pitchFamily="34" charset="0"/>
              <a:buChar char="•"/>
              <a:defRPr sz="1108"/>
            </a:lvl3pPr>
            <a:lvl4pPr marL="659440" indent="-158265">
              <a:lnSpc>
                <a:spcPct val="100000"/>
              </a:lnSpc>
              <a:spcBef>
                <a:spcPts val="554"/>
              </a:spcBef>
              <a:buFont typeface="Arial" pitchFamily="34" charset="0"/>
              <a:buChar char="‒"/>
              <a:defRPr baseline="0"/>
            </a:lvl4pPr>
            <a:lvl5pPr marL="826498" indent="-167058">
              <a:lnSpc>
                <a:spcPct val="100000"/>
              </a:lnSpc>
              <a:spcBef>
                <a:spcPts val="554"/>
              </a:spcBef>
              <a:buFont typeface="Arial" pitchFamily="34" charset="0"/>
              <a:buChar char="•"/>
              <a:defRPr baseline="0"/>
            </a:lvl5pPr>
            <a:lvl6pPr marL="501174" indent="0">
              <a:lnSpc>
                <a:spcPct val="100000"/>
              </a:lnSpc>
              <a:spcBef>
                <a:spcPts val="554"/>
              </a:spcBef>
              <a:buFont typeface="Arial" pitchFamily="34" charset="0"/>
              <a:buNone/>
              <a:defRPr sz="1108">
                <a:solidFill>
                  <a:schemeClr val="tx2"/>
                </a:solidFill>
              </a:defRPr>
            </a:lvl6pPr>
            <a:lvl7pPr marL="659440" indent="0">
              <a:spcBef>
                <a:spcPts val="554"/>
              </a:spcBef>
              <a:buFont typeface="Arial" pitchFamily="34" charset="0"/>
              <a:buNone/>
              <a:defRPr>
                <a:solidFill>
                  <a:schemeClr val="tx2"/>
                </a:solidFill>
              </a:defRPr>
            </a:lvl7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391759" y="6583304"/>
            <a:ext cx="346075" cy="12824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038"/>
              </a:lnSpc>
              <a:defRPr sz="738" b="0">
                <a:solidFill>
                  <a:schemeClr val="tx2"/>
                </a:solidFill>
              </a:defRPr>
            </a:lvl1pPr>
          </a:lstStyle>
          <a:p>
            <a:pPr lvl="0"/>
            <a:fld id="{86CB4B4D-7CA3-9044-876B-883B54F8677D}" type="slidenum">
              <a:rPr lang="nb-NO" smtClean="0"/>
              <a:t>‹#›</a:t>
            </a:fld>
            <a:endParaRPr lang="nb-NO"/>
          </a:p>
        </p:txBody>
      </p:sp>
      <p:sp>
        <p:nvSpPr>
          <p:cNvPr id="16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4189" y="1130370"/>
            <a:ext cx="4023946" cy="24096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477" b="1" smtClean="0"/>
            </a:lvl1pPr>
          </a:lstStyle>
          <a:p>
            <a:r>
              <a:rPr lang="en-GB" noProof="0" dirty="0" smtClean="0"/>
              <a:t>Click to edit Master subtitle style</a:t>
            </a:r>
            <a:endParaRPr lang="en-GB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750777" y="1130370"/>
            <a:ext cx="3997569" cy="240963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477" b="1"/>
            </a:lvl1pPr>
          </a:lstStyle>
          <a:p>
            <a:pPr lvl="0"/>
            <a:r>
              <a:rPr lang="en-GB" dirty="0" smtClean="0"/>
              <a:t>Click to add subtitl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4750777" y="1379195"/>
            <a:ext cx="3997569" cy="4911725"/>
          </a:xfrm>
          <a:prstGeom prst="rect">
            <a:avLst/>
          </a:prstGeom>
        </p:spPr>
        <p:txBody>
          <a:bodyPr wrap="square" lIns="0" tIns="0" rIns="0" bIns="0"/>
          <a:lstStyle>
            <a:lvl1pPr marL="167058" indent="-167058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292">
                <a:solidFill>
                  <a:schemeClr val="tx2"/>
                </a:solidFill>
              </a:defRPr>
            </a:lvl1pPr>
            <a:lvl2pPr marL="332651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2pPr>
            <a:lvl3pPr marL="499709" indent="-158265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3pPr>
            <a:lvl4pPr marL="656509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4pPr>
            <a:lvl5pPr marL="822102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5pPr>
            <a:lvl6pPr marL="830790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996948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163106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329264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36638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fld id="{86CB4B4D-7CA3-9044-876B-883B54F8677D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3231" tIns="33231" rIns="33231" bIns="33231" rtlCol="0" anchor="ctr"/>
          <a:lstStyle/>
          <a:p>
            <a:pPr algn="ctr"/>
            <a:endParaRPr lang="en-GB" sz="1292" dirty="0" smtClean="0"/>
          </a:p>
        </p:txBody>
      </p:sp>
      <p:sp>
        <p:nvSpPr>
          <p:cNvPr id="8" name="Title Placehold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142820" y="2886327"/>
            <a:ext cx="3996982" cy="1128762"/>
          </a:xfrm>
          <a:prstGeom prst="rect">
            <a:avLst/>
          </a:prstGeom>
        </p:spPr>
        <p:txBody>
          <a:bodyPr/>
          <a:lstStyle>
            <a:lvl1pPr marL="0" marR="0" indent="0" defTabSz="884328" rtl="0" eaLnBrk="0" fontAlgn="base" latinLnBrk="0" hangingPunct="0">
              <a:lnSpc>
                <a:spcPts val="2585"/>
              </a:lnSpc>
              <a:spcBef>
                <a:spcPct val="0"/>
              </a:spcBef>
              <a:spcAft>
                <a:spcPct val="0"/>
              </a:spcAft>
              <a:tabLst/>
              <a:defRPr sz="2585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7" name="SD_VAR_Foot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905908" y="6583304"/>
            <a:ext cx="804707" cy="12824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84328">
              <a:lnSpc>
                <a:spcPts val="1041"/>
              </a:lnSpc>
              <a:defRPr/>
            </a:pPr>
            <a:r>
              <a:rPr lang="en-GB" sz="738" smtClean="0">
                <a:solidFill>
                  <a:schemeClr val="tx2"/>
                </a:solidFill>
              </a:rPr>
              <a:t>© 2015 Deloitte AS</a:t>
            </a:r>
            <a:endParaRPr lang="en-GB" sz="738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903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391759" y="6583304"/>
            <a:ext cx="346075" cy="12824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038"/>
              </a:lnSpc>
              <a:defRPr sz="738" b="0">
                <a:solidFill>
                  <a:schemeClr val="tx2"/>
                </a:solidFill>
              </a:defRPr>
            </a:lvl1pPr>
          </a:lstStyle>
          <a:p>
            <a:pPr lvl="0"/>
            <a:fld id="{86CB4B4D-7CA3-9044-876B-883B54F8677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02711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892969" y="5170289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241093" algn="ctr">
              <a:spcBef>
                <a:spcPts val="0"/>
              </a:spcBef>
              <a:buSzTx/>
              <a:buNone/>
              <a:defRPr sz="2250"/>
            </a:lvl2pPr>
            <a:lvl3pPr marL="0" indent="482186" algn="ctr">
              <a:spcBef>
                <a:spcPts val="0"/>
              </a:spcBef>
              <a:buSzTx/>
              <a:buNone/>
              <a:defRPr sz="2250"/>
            </a:lvl3pPr>
            <a:lvl4pPr marL="0" indent="723279" algn="ctr">
              <a:spcBef>
                <a:spcPts val="0"/>
              </a:spcBef>
              <a:buSzTx/>
              <a:buNone/>
              <a:defRPr sz="2250"/>
            </a:lvl4pPr>
            <a:lvl5pPr marL="0" indent="964372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Brødtekst nivå én</a:t>
            </a:r>
          </a:p>
          <a:p>
            <a:pPr lvl="1">
              <a:defRPr sz="1800"/>
            </a:pPr>
            <a:r>
              <a:rPr sz="2250"/>
              <a:t>Brødtekst nivå to</a:t>
            </a:r>
          </a:p>
          <a:p>
            <a:pPr lvl="2">
              <a:defRPr sz="1800"/>
            </a:pPr>
            <a:r>
              <a:rPr sz="2250"/>
              <a:t>Brødtekst nivå tre</a:t>
            </a:r>
          </a:p>
          <a:p>
            <a:pPr lvl="3">
              <a:defRPr sz="1800"/>
            </a:pPr>
            <a:r>
              <a:rPr sz="2250"/>
              <a:t>Brødtekst nivå fire</a:t>
            </a:r>
          </a:p>
          <a:p>
            <a:pPr lvl="4">
              <a:defRPr sz="1800"/>
            </a:pPr>
            <a:r>
              <a:rPr sz="2250"/>
              <a:t>Brødtekst nivå fem</a:t>
            </a:r>
          </a:p>
        </p:txBody>
      </p:sp>
      <p:sp>
        <p:nvSpPr>
          <p:cNvPr id="6" name="Shape 6"/>
          <p:cNvSpPr>
            <a:spLocks noGrp="1"/>
          </p:cNvSpPr>
          <p:nvPr>
            <p:ph type="title"/>
          </p:nvPr>
        </p:nvSpPr>
        <p:spPr>
          <a:xfrm>
            <a:off x="892969" y="4107656"/>
            <a:ext cx="7358063" cy="1000125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</p:spTree>
    <p:extLst>
      <p:ext uri="{BB962C8B-B14F-4D97-AF65-F5344CB8AC3E}">
        <p14:creationId xmlns:p14="http://schemas.microsoft.com/office/powerpoint/2010/main" val="156177099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>
            <a:spLocks noGrp="1"/>
          </p:cNvSpPr>
          <p:nvPr>
            <p:ph type="title"/>
          </p:nvPr>
        </p:nvSpPr>
        <p:spPr>
          <a:xfrm>
            <a:off x="892969" y="1151930"/>
            <a:ext cx="7358063" cy="2321719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xfrm>
            <a:off x="892969" y="353615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241093" algn="ctr">
              <a:spcBef>
                <a:spcPts val="0"/>
              </a:spcBef>
              <a:buSzTx/>
              <a:buNone/>
              <a:defRPr sz="2250"/>
            </a:lvl2pPr>
            <a:lvl3pPr marL="0" indent="482186" algn="ctr">
              <a:spcBef>
                <a:spcPts val="0"/>
              </a:spcBef>
              <a:buSzTx/>
              <a:buNone/>
              <a:defRPr sz="2250"/>
            </a:lvl3pPr>
            <a:lvl4pPr marL="0" indent="723279" algn="ctr">
              <a:spcBef>
                <a:spcPts val="0"/>
              </a:spcBef>
              <a:buSzTx/>
              <a:buNone/>
              <a:defRPr sz="2250"/>
            </a:lvl4pPr>
            <a:lvl5pPr marL="0" indent="964372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Brødtekst nivå én</a:t>
            </a:r>
          </a:p>
          <a:p>
            <a:pPr lvl="1">
              <a:defRPr sz="1800"/>
            </a:pPr>
            <a:r>
              <a:rPr sz="2250"/>
              <a:t>Brødtekst nivå to</a:t>
            </a:r>
          </a:p>
          <a:p>
            <a:pPr lvl="2">
              <a:defRPr sz="1800"/>
            </a:pPr>
            <a:r>
              <a:rPr sz="2250"/>
              <a:t>Brødtekst nivå tre</a:t>
            </a:r>
          </a:p>
          <a:p>
            <a:pPr lvl="3">
              <a:defRPr sz="1800"/>
            </a:pPr>
            <a:r>
              <a:rPr sz="2250"/>
              <a:t>Brødtekst nivå fire</a:t>
            </a:r>
          </a:p>
          <a:p>
            <a:pPr lvl="4">
              <a:defRPr sz="1800"/>
            </a:pPr>
            <a:r>
              <a:rPr sz="2250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2111801235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1480943425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nb-NO" sz="2800" b="1" smtClean="0">
                <a:solidFill>
                  <a:srgbClr val="89A218"/>
                </a:solidFill>
              </a:rPr>
              <a:t>Klikk for å redigere tittelstil</a:t>
            </a:r>
            <a:endParaRPr sz="2800" b="1">
              <a:solidFill>
                <a:srgbClr val="89A218"/>
              </a:solidFill>
            </a:endParaRPr>
          </a:p>
        </p:txBody>
      </p:sp>
      <p:sp>
        <p:nvSpPr>
          <p:cNvPr id="14" name="Shape 14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lang="nb-NO" sz="2800" smtClean="0"/>
              <a:t>Klikk for å redigere tekststiler i malen</a:t>
            </a:r>
          </a:p>
          <a:p>
            <a:pPr lvl="1">
              <a:defRPr sz="1800"/>
            </a:pPr>
            <a:r>
              <a:rPr lang="nb-NO" sz="2800" smtClean="0"/>
              <a:t>Andre nivå</a:t>
            </a:r>
          </a:p>
          <a:p>
            <a:pPr lvl="2">
              <a:defRPr sz="1800"/>
            </a:pPr>
            <a:r>
              <a:rPr lang="nb-NO" sz="2800" smtClean="0"/>
              <a:t>Tredje nivå</a:t>
            </a:r>
          </a:p>
          <a:p>
            <a:pPr lvl="3">
              <a:defRPr sz="1800"/>
            </a:pPr>
            <a:r>
              <a:rPr lang="nb-NO" sz="2800" smtClean="0"/>
              <a:t>Fjerde nivå</a:t>
            </a:r>
          </a:p>
          <a:p>
            <a:pPr lvl="4">
              <a:defRPr sz="1800"/>
            </a:pPr>
            <a:r>
              <a:rPr lang="nb-NO" sz="2800" smtClean="0"/>
              <a:t>Femte nivå</a:t>
            </a:r>
            <a:endParaRPr sz="2800"/>
          </a:p>
        </p:txBody>
      </p:sp>
      <p:sp>
        <p:nvSpPr>
          <p:cNvPr id="15" name="Shape 1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15" name="Shape 15"/>
          <p:cNvSpPr>
            <a:spLocks noGrp="1"/>
          </p:cNvSpPr>
          <p:nvPr>
            <p:ph type="body" idx="1"/>
          </p:nvPr>
        </p:nvSpPr>
        <p:spPr>
          <a:xfrm>
            <a:off x="901898" y="1946672"/>
            <a:ext cx="3545086" cy="4018359"/>
          </a:xfrm>
          <a:prstGeom prst="rect">
            <a:avLst/>
          </a:prstGeom>
        </p:spPr>
        <p:txBody>
          <a:bodyPr/>
          <a:lstStyle>
            <a:lvl1pPr marL="197385" indent="-197385">
              <a:spcBef>
                <a:spcPts val="2250"/>
              </a:spcBef>
              <a:defRPr sz="1969"/>
            </a:lvl1pPr>
            <a:lvl2pPr marL="465267" indent="-197385">
              <a:spcBef>
                <a:spcPts val="2250"/>
              </a:spcBef>
              <a:defRPr sz="1969"/>
            </a:lvl2pPr>
            <a:lvl3pPr marL="733148" indent="-197385">
              <a:spcBef>
                <a:spcPts val="2250"/>
              </a:spcBef>
              <a:defRPr sz="1969"/>
            </a:lvl3pPr>
            <a:lvl4pPr marL="1001029" indent="-197385">
              <a:spcBef>
                <a:spcPts val="2250"/>
              </a:spcBef>
              <a:defRPr sz="1969"/>
            </a:lvl4pPr>
            <a:lvl5pPr marL="1268910" indent="-197385">
              <a:spcBef>
                <a:spcPts val="2250"/>
              </a:spcBef>
              <a:defRPr sz="1969"/>
            </a:lvl5pPr>
          </a:lstStyle>
          <a:p>
            <a:pPr lvl="0">
              <a:defRPr sz="1800"/>
            </a:pPr>
            <a:r>
              <a:rPr sz="1969"/>
              <a:t>Brødtekst nivå én</a:t>
            </a:r>
          </a:p>
          <a:p>
            <a:pPr lvl="1">
              <a:defRPr sz="1800"/>
            </a:pPr>
            <a:r>
              <a:rPr sz="1969"/>
              <a:t>Brødtekst nivå to</a:t>
            </a:r>
          </a:p>
          <a:p>
            <a:pPr lvl="2">
              <a:defRPr sz="1800"/>
            </a:pPr>
            <a:r>
              <a:rPr sz="1969"/>
              <a:t>Brødtekst nivå tre</a:t>
            </a:r>
          </a:p>
          <a:p>
            <a:pPr lvl="3">
              <a:defRPr sz="1800"/>
            </a:pPr>
            <a:r>
              <a:rPr sz="1969"/>
              <a:t>Brødtekst nivå fire</a:t>
            </a:r>
          </a:p>
          <a:p>
            <a:pPr lvl="4">
              <a:defRPr sz="1800"/>
            </a:pPr>
            <a:r>
              <a:rPr sz="1969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1798128672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</p:spTree>
    <p:extLst>
      <p:ext uri="{BB962C8B-B14F-4D97-AF65-F5344CB8AC3E}">
        <p14:creationId xmlns:p14="http://schemas.microsoft.com/office/powerpoint/2010/main" val="154199717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0283260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body" idx="1"/>
          </p:nvPr>
        </p:nvSpPr>
        <p:spPr>
          <a:xfrm>
            <a:off x="892969" y="892969"/>
            <a:ext cx="7358063" cy="5072063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4000088018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1974414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1.jpg" descr="side_nede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1" y="5988050"/>
            <a:ext cx="9180513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image2.jpg" descr="symbol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Shape 25"/>
          <p:cNvSpPr>
            <a:spLocks noGrp="1"/>
          </p:cNvSpPr>
          <p:nvPr>
            <p:ph type="sldNum" sz="quarter" idx="2"/>
          </p:nvPr>
        </p:nvSpPr>
        <p:spPr>
          <a:xfrm>
            <a:off x="6553200" y="6553200"/>
            <a:ext cx="2362200" cy="250259"/>
          </a:xfrm>
          <a:prstGeom prst="rect">
            <a:avLst/>
          </a:prstGeom>
          <a:ln w="12700">
            <a:miter lim="400000"/>
          </a:ln>
        </p:spPr>
        <p:txBody>
          <a:bodyPr lIns="65023" tIns="65023" rIns="65023" bIns="65023">
            <a:spAutoFit/>
          </a:bodyPr>
          <a:lstStyle>
            <a:lvl1pPr algn="r" defTabSz="642915">
              <a:defRPr sz="773" b="1">
                <a:solidFill>
                  <a:srgbClr val="F9EEC9"/>
                </a:solidFill>
                <a:uFill>
                  <a:solidFill>
                    <a:srgbClr val="F9EEC9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17132032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1.jpg" descr="side_nede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1" y="5988050"/>
            <a:ext cx="9180513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image2.jpg" descr="symbol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Shape 29"/>
          <p:cNvSpPr>
            <a:spLocks noGrp="1"/>
          </p:cNvSpPr>
          <p:nvPr>
            <p:ph type="sldNum" sz="quarter" idx="2"/>
          </p:nvPr>
        </p:nvSpPr>
        <p:spPr>
          <a:xfrm>
            <a:off x="6553200" y="6553200"/>
            <a:ext cx="2362200" cy="250259"/>
          </a:xfrm>
          <a:prstGeom prst="rect">
            <a:avLst/>
          </a:prstGeom>
          <a:ln w="12700">
            <a:miter lim="400000"/>
          </a:ln>
        </p:spPr>
        <p:txBody>
          <a:bodyPr lIns="65023" tIns="65023" rIns="65023" bIns="65023">
            <a:spAutoFit/>
          </a:bodyPr>
          <a:lstStyle>
            <a:lvl1pPr algn="r" defTabSz="642915">
              <a:defRPr sz="773" b="1">
                <a:solidFill>
                  <a:srgbClr val="F9EEC9"/>
                </a:solidFill>
                <a:uFill>
                  <a:solidFill>
                    <a:srgbClr val="F9EEC9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903196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892969" y="5170289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241093" algn="ctr">
              <a:spcBef>
                <a:spcPts val="0"/>
              </a:spcBef>
              <a:buSzTx/>
              <a:buNone/>
              <a:defRPr sz="2250"/>
            </a:lvl2pPr>
            <a:lvl3pPr marL="0" indent="482186" algn="ctr">
              <a:spcBef>
                <a:spcPts val="0"/>
              </a:spcBef>
              <a:buSzTx/>
              <a:buNone/>
              <a:defRPr sz="2250"/>
            </a:lvl3pPr>
            <a:lvl4pPr marL="0" indent="723279" algn="ctr">
              <a:spcBef>
                <a:spcPts val="0"/>
              </a:spcBef>
              <a:buSzTx/>
              <a:buNone/>
              <a:defRPr sz="2250"/>
            </a:lvl4pPr>
            <a:lvl5pPr marL="0" indent="964372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Brødtekst nivå én</a:t>
            </a:r>
          </a:p>
          <a:p>
            <a:pPr lvl="1">
              <a:defRPr sz="1800"/>
            </a:pPr>
            <a:r>
              <a:rPr sz="2250"/>
              <a:t>Brødtekst nivå to</a:t>
            </a:r>
          </a:p>
          <a:p>
            <a:pPr lvl="2">
              <a:defRPr sz="1800"/>
            </a:pPr>
            <a:r>
              <a:rPr sz="2250"/>
              <a:t>Brødtekst nivå tre</a:t>
            </a:r>
          </a:p>
          <a:p>
            <a:pPr lvl="3">
              <a:defRPr sz="1800"/>
            </a:pPr>
            <a:r>
              <a:rPr sz="2250"/>
              <a:t>Brødtekst nivå fire</a:t>
            </a:r>
          </a:p>
          <a:p>
            <a:pPr lvl="4">
              <a:defRPr sz="1800"/>
            </a:pPr>
            <a:r>
              <a:rPr sz="2250"/>
              <a:t>Brødtekst nivå fem</a:t>
            </a:r>
          </a:p>
        </p:txBody>
      </p:sp>
      <p:sp>
        <p:nvSpPr>
          <p:cNvPr id="6" name="Shape 6"/>
          <p:cNvSpPr>
            <a:spLocks noGrp="1"/>
          </p:cNvSpPr>
          <p:nvPr>
            <p:ph type="title"/>
          </p:nvPr>
        </p:nvSpPr>
        <p:spPr>
          <a:xfrm>
            <a:off x="892969" y="4107656"/>
            <a:ext cx="7358063" cy="1000125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</p:spTree>
    <p:extLst>
      <p:ext uri="{BB962C8B-B14F-4D97-AF65-F5344CB8AC3E}">
        <p14:creationId xmlns:p14="http://schemas.microsoft.com/office/powerpoint/2010/main" val="766968438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>
            <a:spLocks noGrp="1"/>
          </p:cNvSpPr>
          <p:nvPr>
            <p:ph type="title"/>
          </p:nvPr>
        </p:nvSpPr>
        <p:spPr>
          <a:xfrm>
            <a:off x="892969" y="1151930"/>
            <a:ext cx="7358063" cy="2321719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xfrm>
            <a:off x="892969" y="353615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241093" algn="ctr">
              <a:spcBef>
                <a:spcPts val="0"/>
              </a:spcBef>
              <a:buSzTx/>
              <a:buNone/>
              <a:defRPr sz="2250"/>
            </a:lvl2pPr>
            <a:lvl3pPr marL="0" indent="482186" algn="ctr">
              <a:spcBef>
                <a:spcPts val="0"/>
              </a:spcBef>
              <a:buSzTx/>
              <a:buNone/>
              <a:defRPr sz="2250"/>
            </a:lvl3pPr>
            <a:lvl4pPr marL="0" indent="723279" algn="ctr">
              <a:spcBef>
                <a:spcPts val="0"/>
              </a:spcBef>
              <a:buSzTx/>
              <a:buNone/>
              <a:defRPr sz="2250"/>
            </a:lvl4pPr>
            <a:lvl5pPr marL="0" indent="964372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Brødtekst nivå én</a:t>
            </a:r>
          </a:p>
          <a:p>
            <a:pPr lvl="1">
              <a:defRPr sz="1800"/>
            </a:pPr>
            <a:r>
              <a:rPr sz="2250"/>
              <a:t>Brødtekst nivå to</a:t>
            </a:r>
          </a:p>
          <a:p>
            <a:pPr lvl="2">
              <a:defRPr sz="1800"/>
            </a:pPr>
            <a:r>
              <a:rPr sz="2250"/>
              <a:t>Brødtekst nivå tre</a:t>
            </a:r>
          </a:p>
          <a:p>
            <a:pPr lvl="3">
              <a:defRPr sz="1800"/>
            </a:pPr>
            <a:r>
              <a:rPr sz="2250"/>
              <a:t>Brødtekst nivå fire</a:t>
            </a:r>
          </a:p>
          <a:p>
            <a:pPr lvl="4">
              <a:defRPr sz="1800"/>
            </a:pPr>
            <a:r>
              <a:rPr sz="2250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2211351362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929904881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hape 25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204980"/>
          </a:xfrm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nb-NO" sz="2800" b="1" smtClean="0">
                <a:solidFill>
                  <a:srgbClr val="89A218"/>
                </a:solidFill>
              </a:rPr>
              <a:t>Klikk for å redigere tittelstil</a:t>
            </a:r>
            <a:endParaRPr sz="2800" b="1">
              <a:solidFill>
                <a:srgbClr val="89A218"/>
              </a:solidFill>
            </a:endParaRPr>
          </a:p>
        </p:txBody>
      </p:sp>
      <p:sp>
        <p:nvSpPr>
          <p:cNvPr id="26" name="Shape 26"/>
          <p:cNvSpPr>
            <a:spLocks noGrp="1"/>
          </p:cNvSpPr>
          <p:nvPr>
            <p:ph type="body" idx="1"/>
          </p:nvPr>
        </p:nvSpPr>
        <p:spPr>
          <a:xfrm>
            <a:off x="457200" y="1479617"/>
            <a:ext cx="4040188" cy="69525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500"/>
              </a:spcBef>
              <a:buClrTx/>
              <a:buSzTx/>
              <a:buFontTx/>
              <a:buNone/>
              <a:defRPr sz="2400" b="1"/>
            </a:lvl1pPr>
            <a:lvl2pPr marL="0" indent="457200">
              <a:spcBef>
                <a:spcPts val="500"/>
              </a:spcBef>
              <a:buClrTx/>
              <a:buSzTx/>
              <a:buFontTx/>
              <a:buNone/>
              <a:defRPr sz="2400" b="1"/>
            </a:lvl2pPr>
            <a:lvl3pPr marL="0" indent="914400">
              <a:spcBef>
                <a:spcPts val="500"/>
              </a:spcBef>
              <a:buClrTx/>
              <a:buSzTx/>
              <a:buFontTx/>
              <a:buNone/>
              <a:defRPr sz="2400" b="1"/>
            </a:lvl3pPr>
            <a:lvl4pPr marL="0" indent="1371600">
              <a:spcBef>
                <a:spcPts val="500"/>
              </a:spcBef>
              <a:buClrTx/>
              <a:buSzTx/>
              <a:buFontTx/>
              <a:buNone/>
              <a:defRPr sz="2400" b="1"/>
            </a:lvl4pPr>
            <a:lvl5pPr marL="0" indent="1828800">
              <a:spcBef>
                <a:spcPts val="500"/>
              </a:spcBef>
              <a:buClrTx/>
              <a:buSzTx/>
              <a:buFontTx/>
              <a:buNone/>
              <a:defRPr sz="2400" b="1"/>
            </a:lvl5pPr>
          </a:lstStyle>
          <a:p>
            <a:pPr lvl="0">
              <a:defRPr sz="1800" b="0"/>
            </a:pPr>
            <a:r>
              <a:rPr lang="nb-NO" sz="2400" b="1" smtClean="0"/>
              <a:t>Klikk for å redigere tekststiler i malen</a:t>
            </a:r>
          </a:p>
          <a:p>
            <a:pPr lvl="1">
              <a:defRPr sz="1800" b="0"/>
            </a:pPr>
            <a:r>
              <a:rPr lang="nb-NO" sz="2400" b="1" smtClean="0"/>
              <a:t>Andre nivå</a:t>
            </a:r>
          </a:p>
          <a:p>
            <a:pPr lvl="2">
              <a:defRPr sz="1800" b="0"/>
            </a:pPr>
            <a:r>
              <a:rPr lang="nb-NO" sz="2400" b="1" smtClean="0"/>
              <a:t>Tredje nivå</a:t>
            </a:r>
          </a:p>
          <a:p>
            <a:pPr lvl="3">
              <a:defRPr sz="1800" b="0"/>
            </a:pPr>
            <a:r>
              <a:rPr lang="nb-NO" sz="2400" b="1" smtClean="0"/>
              <a:t>Fjerde nivå</a:t>
            </a:r>
          </a:p>
          <a:p>
            <a:pPr lvl="4">
              <a:defRPr sz="1800" b="0"/>
            </a:pPr>
            <a:r>
              <a:rPr lang="nb-NO" sz="2400" b="1" smtClean="0"/>
              <a:t>Femte nivå</a:t>
            </a:r>
            <a:endParaRPr sz="2400" b="1"/>
          </a:p>
        </p:txBody>
      </p:sp>
      <p:sp>
        <p:nvSpPr>
          <p:cNvPr id="27" name="Shape 2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15" name="Shape 15"/>
          <p:cNvSpPr>
            <a:spLocks noGrp="1"/>
          </p:cNvSpPr>
          <p:nvPr>
            <p:ph type="body" idx="1"/>
          </p:nvPr>
        </p:nvSpPr>
        <p:spPr>
          <a:xfrm>
            <a:off x="901898" y="1946672"/>
            <a:ext cx="3545086" cy="4018359"/>
          </a:xfrm>
          <a:prstGeom prst="rect">
            <a:avLst/>
          </a:prstGeom>
        </p:spPr>
        <p:txBody>
          <a:bodyPr/>
          <a:lstStyle>
            <a:lvl1pPr marL="197385" indent="-197385">
              <a:spcBef>
                <a:spcPts val="2250"/>
              </a:spcBef>
              <a:defRPr sz="1969"/>
            </a:lvl1pPr>
            <a:lvl2pPr marL="465267" indent="-197385">
              <a:spcBef>
                <a:spcPts val="2250"/>
              </a:spcBef>
              <a:defRPr sz="1969"/>
            </a:lvl2pPr>
            <a:lvl3pPr marL="733148" indent="-197385">
              <a:spcBef>
                <a:spcPts val="2250"/>
              </a:spcBef>
              <a:defRPr sz="1969"/>
            </a:lvl3pPr>
            <a:lvl4pPr marL="1001029" indent="-197385">
              <a:spcBef>
                <a:spcPts val="2250"/>
              </a:spcBef>
              <a:defRPr sz="1969"/>
            </a:lvl4pPr>
            <a:lvl5pPr marL="1268910" indent="-197385">
              <a:spcBef>
                <a:spcPts val="2250"/>
              </a:spcBef>
              <a:defRPr sz="1969"/>
            </a:lvl5pPr>
          </a:lstStyle>
          <a:p>
            <a:pPr lvl="0">
              <a:defRPr sz="1800"/>
            </a:pPr>
            <a:r>
              <a:rPr sz="1969"/>
              <a:t>Brødtekst nivå én</a:t>
            </a:r>
          </a:p>
          <a:p>
            <a:pPr lvl="1">
              <a:defRPr sz="1800"/>
            </a:pPr>
            <a:r>
              <a:rPr sz="1969"/>
              <a:t>Brødtekst nivå to</a:t>
            </a:r>
          </a:p>
          <a:p>
            <a:pPr lvl="2">
              <a:defRPr sz="1800"/>
            </a:pPr>
            <a:r>
              <a:rPr sz="1969"/>
              <a:t>Brødtekst nivå tre</a:t>
            </a:r>
          </a:p>
          <a:p>
            <a:pPr lvl="3">
              <a:defRPr sz="1800"/>
            </a:pPr>
            <a:r>
              <a:rPr sz="1969"/>
              <a:t>Brødtekst nivå fire</a:t>
            </a:r>
          </a:p>
          <a:p>
            <a:pPr lvl="4">
              <a:defRPr sz="1800"/>
            </a:pPr>
            <a:r>
              <a:rPr sz="1969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900629121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</p:spTree>
    <p:extLst>
      <p:ext uri="{BB962C8B-B14F-4D97-AF65-F5344CB8AC3E}">
        <p14:creationId xmlns:p14="http://schemas.microsoft.com/office/powerpoint/2010/main" val="2545145721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8825050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body" idx="1"/>
          </p:nvPr>
        </p:nvSpPr>
        <p:spPr>
          <a:xfrm>
            <a:off x="892969" y="892969"/>
            <a:ext cx="7358063" cy="5072063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573353419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4841704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1.jpg" descr="side_nede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1" y="5988050"/>
            <a:ext cx="9180513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image2.jpg" descr="symbol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Shape 25"/>
          <p:cNvSpPr>
            <a:spLocks noGrp="1"/>
          </p:cNvSpPr>
          <p:nvPr>
            <p:ph type="sldNum" sz="quarter" idx="2"/>
          </p:nvPr>
        </p:nvSpPr>
        <p:spPr>
          <a:xfrm>
            <a:off x="6553200" y="6553200"/>
            <a:ext cx="2362200" cy="250259"/>
          </a:xfrm>
          <a:prstGeom prst="rect">
            <a:avLst/>
          </a:prstGeom>
          <a:ln w="12700">
            <a:miter lim="400000"/>
          </a:ln>
        </p:spPr>
        <p:txBody>
          <a:bodyPr lIns="65023" tIns="65023" rIns="65023" bIns="65023">
            <a:spAutoFit/>
          </a:bodyPr>
          <a:lstStyle>
            <a:lvl1pPr algn="r" defTabSz="642915">
              <a:defRPr sz="773" b="1">
                <a:solidFill>
                  <a:srgbClr val="F9EEC9"/>
                </a:solidFill>
                <a:uFill>
                  <a:solidFill>
                    <a:srgbClr val="F9EEC9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93129061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1.jpg" descr="side_nede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1" y="5988050"/>
            <a:ext cx="9180513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image2.jpg" descr="symbol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Shape 29"/>
          <p:cNvSpPr>
            <a:spLocks noGrp="1"/>
          </p:cNvSpPr>
          <p:nvPr>
            <p:ph type="sldNum" sz="quarter" idx="2"/>
          </p:nvPr>
        </p:nvSpPr>
        <p:spPr>
          <a:xfrm>
            <a:off x="6553200" y="6553200"/>
            <a:ext cx="2362200" cy="250259"/>
          </a:xfrm>
          <a:prstGeom prst="rect">
            <a:avLst/>
          </a:prstGeom>
          <a:ln w="12700">
            <a:miter lim="400000"/>
          </a:ln>
        </p:spPr>
        <p:txBody>
          <a:bodyPr lIns="65023" tIns="65023" rIns="65023" bIns="65023">
            <a:spAutoFit/>
          </a:bodyPr>
          <a:lstStyle>
            <a:lvl1pPr algn="r" defTabSz="642915">
              <a:defRPr sz="773" b="1">
                <a:solidFill>
                  <a:srgbClr val="F9EEC9"/>
                </a:solidFill>
                <a:uFill>
                  <a:solidFill>
                    <a:srgbClr val="F9EEC9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88278527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892969" y="5170289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241093" algn="ctr">
              <a:spcBef>
                <a:spcPts val="0"/>
              </a:spcBef>
              <a:buSzTx/>
              <a:buNone/>
              <a:defRPr sz="2250"/>
            </a:lvl2pPr>
            <a:lvl3pPr marL="0" indent="482186" algn="ctr">
              <a:spcBef>
                <a:spcPts val="0"/>
              </a:spcBef>
              <a:buSzTx/>
              <a:buNone/>
              <a:defRPr sz="2250"/>
            </a:lvl3pPr>
            <a:lvl4pPr marL="0" indent="723279" algn="ctr">
              <a:spcBef>
                <a:spcPts val="0"/>
              </a:spcBef>
              <a:buSzTx/>
              <a:buNone/>
              <a:defRPr sz="2250"/>
            </a:lvl4pPr>
            <a:lvl5pPr marL="0" indent="964372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Brødtekst nivå én</a:t>
            </a:r>
          </a:p>
          <a:p>
            <a:pPr lvl="1">
              <a:defRPr sz="1800"/>
            </a:pPr>
            <a:r>
              <a:rPr sz="2250"/>
              <a:t>Brødtekst nivå to</a:t>
            </a:r>
          </a:p>
          <a:p>
            <a:pPr lvl="2">
              <a:defRPr sz="1800"/>
            </a:pPr>
            <a:r>
              <a:rPr sz="2250"/>
              <a:t>Brødtekst nivå tre</a:t>
            </a:r>
          </a:p>
          <a:p>
            <a:pPr lvl="3">
              <a:defRPr sz="1800"/>
            </a:pPr>
            <a:r>
              <a:rPr sz="2250"/>
              <a:t>Brødtekst nivå fire</a:t>
            </a:r>
          </a:p>
          <a:p>
            <a:pPr lvl="4">
              <a:defRPr sz="1800"/>
            </a:pPr>
            <a:r>
              <a:rPr sz="2250"/>
              <a:t>Brødtekst nivå fem</a:t>
            </a:r>
          </a:p>
        </p:txBody>
      </p:sp>
      <p:sp>
        <p:nvSpPr>
          <p:cNvPr id="6" name="Shape 6"/>
          <p:cNvSpPr>
            <a:spLocks noGrp="1"/>
          </p:cNvSpPr>
          <p:nvPr>
            <p:ph type="title"/>
          </p:nvPr>
        </p:nvSpPr>
        <p:spPr>
          <a:xfrm>
            <a:off x="892969" y="4107656"/>
            <a:ext cx="7358063" cy="1000125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</p:spTree>
    <p:extLst>
      <p:ext uri="{BB962C8B-B14F-4D97-AF65-F5344CB8AC3E}">
        <p14:creationId xmlns:p14="http://schemas.microsoft.com/office/powerpoint/2010/main" val="1134890598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>
            <a:spLocks noGrp="1"/>
          </p:cNvSpPr>
          <p:nvPr>
            <p:ph type="title"/>
          </p:nvPr>
        </p:nvSpPr>
        <p:spPr>
          <a:xfrm>
            <a:off x="892969" y="1151930"/>
            <a:ext cx="7358063" cy="2321719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xfrm>
            <a:off x="892969" y="353615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241093" algn="ctr">
              <a:spcBef>
                <a:spcPts val="0"/>
              </a:spcBef>
              <a:buSzTx/>
              <a:buNone/>
              <a:defRPr sz="2250"/>
            </a:lvl2pPr>
            <a:lvl3pPr marL="0" indent="482186" algn="ctr">
              <a:spcBef>
                <a:spcPts val="0"/>
              </a:spcBef>
              <a:buSzTx/>
              <a:buNone/>
              <a:defRPr sz="2250"/>
            </a:lvl3pPr>
            <a:lvl4pPr marL="0" indent="723279" algn="ctr">
              <a:spcBef>
                <a:spcPts val="0"/>
              </a:spcBef>
              <a:buSzTx/>
              <a:buNone/>
              <a:defRPr sz="2250"/>
            </a:lvl4pPr>
            <a:lvl5pPr marL="0" indent="964372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Brødtekst nivå én</a:t>
            </a:r>
          </a:p>
          <a:p>
            <a:pPr lvl="1">
              <a:defRPr sz="1800"/>
            </a:pPr>
            <a:r>
              <a:rPr sz="2250"/>
              <a:t>Brødtekst nivå to</a:t>
            </a:r>
          </a:p>
          <a:p>
            <a:pPr lvl="2">
              <a:defRPr sz="1800"/>
            </a:pPr>
            <a:r>
              <a:rPr sz="2250"/>
              <a:t>Brødtekst nivå tre</a:t>
            </a:r>
          </a:p>
          <a:p>
            <a:pPr lvl="3">
              <a:defRPr sz="1800"/>
            </a:pPr>
            <a:r>
              <a:rPr sz="2250"/>
              <a:t>Brødtekst nivå fire</a:t>
            </a:r>
          </a:p>
          <a:p>
            <a:pPr lvl="4">
              <a:defRPr sz="1800"/>
            </a:pPr>
            <a:r>
              <a:rPr sz="2250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3269435839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934998655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Shape 34"/>
          <p:cNvSpPr>
            <a:spLocks noGrp="1"/>
          </p:cNvSpPr>
          <p:nvPr>
            <p:ph type="title"/>
          </p:nvPr>
        </p:nvSpPr>
        <p:spPr>
          <a:xfrm>
            <a:off x="457200" y="0"/>
            <a:ext cx="3008313" cy="1435100"/>
          </a:xfrm>
          <a:prstGeom prst="rect">
            <a:avLst/>
          </a:prstGeom>
        </p:spPr>
        <p:txBody>
          <a:bodyPr anchor="b"/>
          <a:lstStyle>
            <a:lvl1pPr>
              <a:defRPr sz="2000"/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nb-NO" sz="2000" b="1" smtClean="0">
                <a:solidFill>
                  <a:srgbClr val="89A218"/>
                </a:solidFill>
              </a:rPr>
              <a:t>Klikk for å redigere tittelstil</a:t>
            </a:r>
            <a:endParaRPr sz="2000" b="1">
              <a:solidFill>
                <a:srgbClr val="89A218"/>
              </a:solidFill>
            </a:endParaRPr>
          </a:p>
        </p:txBody>
      </p:sp>
      <p:sp>
        <p:nvSpPr>
          <p:cNvPr id="35" name="Shape 35"/>
          <p:cNvSpPr>
            <a:spLocks noGrp="1"/>
          </p:cNvSpPr>
          <p:nvPr>
            <p:ph type="body" idx="1"/>
          </p:nvPr>
        </p:nvSpPr>
        <p:spPr>
          <a:xfrm>
            <a:off x="3575050" y="273050"/>
            <a:ext cx="5111750" cy="6584950"/>
          </a:xfrm>
          <a:prstGeom prst="rect">
            <a:avLst/>
          </a:prstGeom>
        </p:spPr>
        <p:txBody>
          <a:bodyPr/>
          <a:lstStyle>
            <a:lvl1pPr>
              <a:spcBef>
                <a:spcPts val="700"/>
              </a:spcBef>
              <a:defRPr sz="3200"/>
            </a:lvl1pPr>
            <a:lvl2pPr marL="783771" indent="-326571">
              <a:spcBef>
                <a:spcPts val="700"/>
              </a:spcBef>
              <a:defRPr sz="3200"/>
            </a:lvl2pPr>
            <a:lvl3pPr marL="1219200" indent="-304800">
              <a:spcBef>
                <a:spcPts val="700"/>
              </a:spcBef>
              <a:defRPr sz="3200"/>
            </a:lvl3pPr>
            <a:lvl4pPr marL="1737360" indent="-365760">
              <a:spcBef>
                <a:spcPts val="700"/>
              </a:spcBef>
              <a:defRPr sz="3200"/>
            </a:lvl4pPr>
            <a:lvl5pPr marL="2194560" indent="-365760">
              <a:spcBef>
                <a:spcPts val="700"/>
              </a:spcBef>
              <a:defRPr sz="3200"/>
            </a:lvl5pPr>
          </a:lstStyle>
          <a:p>
            <a:pPr lvl="0">
              <a:defRPr sz="1800"/>
            </a:pPr>
            <a:r>
              <a:rPr lang="nb-NO" sz="3200" smtClean="0"/>
              <a:t>Klikk for å redigere tekststiler i malen</a:t>
            </a:r>
          </a:p>
          <a:p>
            <a:pPr lvl="1">
              <a:defRPr sz="1800"/>
            </a:pPr>
            <a:r>
              <a:rPr lang="nb-NO" sz="3200" smtClean="0"/>
              <a:t>Andre nivå</a:t>
            </a:r>
          </a:p>
          <a:p>
            <a:pPr lvl="2">
              <a:defRPr sz="1800"/>
            </a:pPr>
            <a:r>
              <a:rPr lang="nb-NO" sz="3200" smtClean="0"/>
              <a:t>Tredje nivå</a:t>
            </a:r>
          </a:p>
          <a:p>
            <a:pPr lvl="3">
              <a:defRPr sz="1800"/>
            </a:pPr>
            <a:r>
              <a:rPr lang="nb-NO" sz="3200" smtClean="0"/>
              <a:t>Fjerde nivå</a:t>
            </a:r>
          </a:p>
          <a:p>
            <a:pPr lvl="4">
              <a:defRPr sz="1800"/>
            </a:pPr>
            <a:r>
              <a:rPr lang="nb-NO" sz="3200" smtClean="0"/>
              <a:t>Femte nivå</a:t>
            </a:r>
            <a:endParaRPr sz="3200"/>
          </a:p>
        </p:txBody>
      </p:sp>
      <p:sp>
        <p:nvSpPr>
          <p:cNvPr id="36" name="Shape 3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15" name="Shape 15"/>
          <p:cNvSpPr>
            <a:spLocks noGrp="1"/>
          </p:cNvSpPr>
          <p:nvPr>
            <p:ph type="body" idx="1"/>
          </p:nvPr>
        </p:nvSpPr>
        <p:spPr>
          <a:xfrm>
            <a:off x="901898" y="1946672"/>
            <a:ext cx="3545086" cy="4018359"/>
          </a:xfrm>
          <a:prstGeom prst="rect">
            <a:avLst/>
          </a:prstGeom>
        </p:spPr>
        <p:txBody>
          <a:bodyPr/>
          <a:lstStyle>
            <a:lvl1pPr marL="197385" indent="-197385">
              <a:spcBef>
                <a:spcPts val="2250"/>
              </a:spcBef>
              <a:defRPr sz="1969"/>
            </a:lvl1pPr>
            <a:lvl2pPr marL="465267" indent="-197385">
              <a:spcBef>
                <a:spcPts val="2250"/>
              </a:spcBef>
              <a:defRPr sz="1969"/>
            </a:lvl2pPr>
            <a:lvl3pPr marL="733148" indent="-197385">
              <a:spcBef>
                <a:spcPts val="2250"/>
              </a:spcBef>
              <a:defRPr sz="1969"/>
            </a:lvl3pPr>
            <a:lvl4pPr marL="1001029" indent="-197385">
              <a:spcBef>
                <a:spcPts val="2250"/>
              </a:spcBef>
              <a:defRPr sz="1969"/>
            </a:lvl4pPr>
            <a:lvl5pPr marL="1268910" indent="-197385">
              <a:spcBef>
                <a:spcPts val="2250"/>
              </a:spcBef>
              <a:defRPr sz="1969"/>
            </a:lvl5pPr>
          </a:lstStyle>
          <a:p>
            <a:pPr lvl="0">
              <a:defRPr sz="1800"/>
            </a:pPr>
            <a:r>
              <a:rPr sz="1969"/>
              <a:t>Brødtekst nivå én</a:t>
            </a:r>
          </a:p>
          <a:p>
            <a:pPr lvl="1">
              <a:defRPr sz="1800"/>
            </a:pPr>
            <a:r>
              <a:rPr sz="1969"/>
              <a:t>Brødtekst nivå to</a:t>
            </a:r>
          </a:p>
          <a:p>
            <a:pPr lvl="2">
              <a:defRPr sz="1800"/>
            </a:pPr>
            <a:r>
              <a:rPr sz="1969"/>
              <a:t>Brødtekst nivå tre</a:t>
            </a:r>
          </a:p>
          <a:p>
            <a:pPr lvl="3">
              <a:defRPr sz="1800"/>
            </a:pPr>
            <a:r>
              <a:rPr sz="1969"/>
              <a:t>Brødtekst nivå fire</a:t>
            </a:r>
          </a:p>
          <a:p>
            <a:pPr lvl="4">
              <a:defRPr sz="1800"/>
            </a:pPr>
            <a:r>
              <a:rPr sz="1969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3604575748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</p:spTree>
    <p:extLst>
      <p:ext uri="{BB962C8B-B14F-4D97-AF65-F5344CB8AC3E}">
        <p14:creationId xmlns:p14="http://schemas.microsoft.com/office/powerpoint/2010/main" val="896763598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1231696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body" idx="1"/>
          </p:nvPr>
        </p:nvSpPr>
        <p:spPr>
          <a:xfrm>
            <a:off x="892969" y="892969"/>
            <a:ext cx="7358063" cy="5072063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872193791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6113757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1.jpg" descr="side_nede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1" y="5988050"/>
            <a:ext cx="9180513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image2.jpg" descr="symbol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Shape 25"/>
          <p:cNvSpPr>
            <a:spLocks noGrp="1"/>
          </p:cNvSpPr>
          <p:nvPr>
            <p:ph type="sldNum" sz="quarter" idx="2"/>
          </p:nvPr>
        </p:nvSpPr>
        <p:spPr>
          <a:xfrm>
            <a:off x="6553200" y="6553200"/>
            <a:ext cx="2362200" cy="250259"/>
          </a:xfrm>
          <a:prstGeom prst="rect">
            <a:avLst/>
          </a:prstGeom>
          <a:ln w="12700">
            <a:miter lim="400000"/>
          </a:ln>
        </p:spPr>
        <p:txBody>
          <a:bodyPr lIns="65023" tIns="65023" rIns="65023" bIns="65023">
            <a:spAutoFit/>
          </a:bodyPr>
          <a:lstStyle>
            <a:lvl1pPr algn="r" defTabSz="642915">
              <a:defRPr sz="773" b="1">
                <a:solidFill>
                  <a:srgbClr val="F9EEC9"/>
                </a:solidFill>
                <a:uFill>
                  <a:solidFill>
                    <a:srgbClr val="F9EEC9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6393193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1.jpg" descr="side_nede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1" y="5988050"/>
            <a:ext cx="9180513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image2.jpg" descr="symbol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Shape 29"/>
          <p:cNvSpPr>
            <a:spLocks noGrp="1"/>
          </p:cNvSpPr>
          <p:nvPr>
            <p:ph type="sldNum" sz="quarter" idx="2"/>
          </p:nvPr>
        </p:nvSpPr>
        <p:spPr>
          <a:xfrm>
            <a:off x="6553200" y="6553200"/>
            <a:ext cx="2362200" cy="250259"/>
          </a:xfrm>
          <a:prstGeom prst="rect">
            <a:avLst/>
          </a:prstGeom>
          <a:ln w="12700">
            <a:miter lim="400000"/>
          </a:ln>
        </p:spPr>
        <p:txBody>
          <a:bodyPr lIns="65023" tIns="65023" rIns="65023" bIns="65023">
            <a:spAutoFit/>
          </a:bodyPr>
          <a:lstStyle>
            <a:lvl1pPr algn="r" defTabSz="642915">
              <a:defRPr sz="773" b="1">
                <a:solidFill>
                  <a:srgbClr val="F9EEC9"/>
                </a:solidFill>
                <a:uFill>
                  <a:solidFill>
                    <a:srgbClr val="F9EEC9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7776771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892969" y="5170289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241093" algn="ctr">
              <a:spcBef>
                <a:spcPts val="0"/>
              </a:spcBef>
              <a:buSzTx/>
              <a:buNone/>
              <a:defRPr sz="2250"/>
            </a:lvl2pPr>
            <a:lvl3pPr marL="0" indent="482186" algn="ctr">
              <a:spcBef>
                <a:spcPts val="0"/>
              </a:spcBef>
              <a:buSzTx/>
              <a:buNone/>
              <a:defRPr sz="2250"/>
            </a:lvl3pPr>
            <a:lvl4pPr marL="0" indent="723279" algn="ctr">
              <a:spcBef>
                <a:spcPts val="0"/>
              </a:spcBef>
              <a:buSzTx/>
              <a:buNone/>
              <a:defRPr sz="2250"/>
            </a:lvl4pPr>
            <a:lvl5pPr marL="0" indent="964372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Brødtekst nivå én</a:t>
            </a:r>
          </a:p>
          <a:p>
            <a:pPr lvl="1">
              <a:defRPr sz="1800"/>
            </a:pPr>
            <a:r>
              <a:rPr sz="2250"/>
              <a:t>Brødtekst nivå to</a:t>
            </a:r>
          </a:p>
          <a:p>
            <a:pPr lvl="2">
              <a:defRPr sz="1800"/>
            </a:pPr>
            <a:r>
              <a:rPr sz="2250"/>
              <a:t>Brødtekst nivå tre</a:t>
            </a:r>
          </a:p>
          <a:p>
            <a:pPr lvl="3">
              <a:defRPr sz="1800"/>
            </a:pPr>
            <a:r>
              <a:rPr sz="2250"/>
              <a:t>Brødtekst nivå fire</a:t>
            </a:r>
          </a:p>
          <a:p>
            <a:pPr lvl="4">
              <a:defRPr sz="1800"/>
            </a:pPr>
            <a:r>
              <a:rPr sz="2250"/>
              <a:t>Brødtekst nivå fem</a:t>
            </a:r>
          </a:p>
        </p:txBody>
      </p:sp>
      <p:sp>
        <p:nvSpPr>
          <p:cNvPr id="6" name="Shape 6"/>
          <p:cNvSpPr>
            <a:spLocks noGrp="1"/>
          </p:cNvSpPr>
          <p:nvPr>
            <p:ph type="title"/>
          </p:nvPr>
        </p:nvSpPr>
        <p:spPr>
          <a:xfrm>
            <a:off x="892969" y="4107656"/>
            <a:ext cx="7358063" cy="1000125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</p:spTree>
    <p:extLst>
      <p:ext uri="{BB962C8B-B14F-4D97-AF65-F5344CB8AC3E}">
        <p14:creationId xmlns:p14="http://schemas.microsoft.com/office/powerpoint/2010/main" val="2963618159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8"/>
          <p:cNvSpPr>
            <a:spLocks noGrp="1"/>
          </p:cNvSpPr>
          <p:nvPr>
            <p:ph type="title"/>
          </p:nvPr>
        </p:nvSpPr>
        <p:spPr>
          <a:xfrm>
            <a:off x="892969" y="1151930"/>
            <a:ext cx="7358063" cy="2321719"/>
          </a:xfrm>
          <a:prstGeom prst="rect">
            <a:avLst/>
          </a:prstGeom>
        </p:spPr>
        <p:txBody>
          <a:bodyPr anchor="b"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9" name="Shape 9"/>
          <p:cNvSpPr>
            <a:spLocks noGrp="1"/>
          </p:cNvSpPr>
          <p:nvPr>
            <p:ph type="body" idx="1"/>
          </p:nvPr>
        </p:nvSpPr>
        <p:spPr>
          <a:xfrm>
            <a:off x="892969" y="3536156"/>
            <a:ext cx="7358063" cy="794742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250"/>
            </a:lvl1pPr>
            <a:lvl2pPr marL="0" indent="241093" algn="ctr">
              <a:spcBef>
                <a:spcPts val="0"/>
              </a:spcBef>
              <a:buSzTx/>
              <a:buNone/>
              <a:defRPr sz="2250"/>
            </a:lvl2pPr>
            <a:lvl3pPr marL="0" indent="482186" algn="ctr">
              <a:spcBef>
                <a:spcPts val="0"/>
              </a:spcBef>
              <a:buSzTx/>
              <a:buNone/>
              <a:defRPr sz="2250"/>
            </a:lvl3pPr>
            <a:lvl4pPr marL="0" indent="723279" algn="ctr">
              <a:spcBef>
                <a:spcPts val="0"/>
              </a:spcBef>
              <a:buSzTx/>
              <a:buNone/>
              <a:defRPr sz="2250"/>
            </a:lvl4pPr>
            <a:lvl5pPr marL="0" indent="964372" algn="ctr">
              <a:spcBef>
                <a:spcPts val="0"/>
              </a:spcBef>
              <a:buSzTx/>
              <a:buNone/>
              <a:defRPr sz="2250"/>
            </a:lvl5pPr>
          </a:lstStyle>
          <a:p>
            <a:pPr lvl="0">
              <a:defRPr sz="1800"/>
            </a:pPr>
            <a:r>
              <a:rPr sz="2250"/>
              <a:t>Brødtekst nivå én</a:t>
            </a:r>
          </a:p>
          <a:p>
            <a:pPr lvl="1">
              <a:defRPr sz="1800"/>
            </a:pPr>
            <a:r>
              <a:rPr sz="2250"/>
              <a:t>Brødtekst nivå to</a:t>
            </a:r>
          </a:p>
          <a:p>
            <a:pPr lvl="2">
              <a:defRPr sz="1800"/>
            </a:pPr>
            <a:r>
              <a:rPr sz="2250"/>
              <a:t>Brødtekst nivå tre</a:t>
            </a:r>
          </a:p>
          <a:p>
            <a:pPr lvl="3">
              <a:defRPr sz="1800"/>
            </a:pPr>
            <a:r>
              <a:rPr sz="2250"/>
              <a:t>Brødtekst nivå fire</a:t>
            </a:r>
          </a:p>
          <a:p>
            <a:pPr lvl="4">
              <a:defRPr sz="1800"/>
            </a:pPr>
            <a:r>
              <a:rPr sz="2250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466795829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12" name="Shape 12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390951245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Shape 38"/>
          <p:cNvSpPr>
            <a:spLocks noGrp="1"/>
          </p:cNvSpPr>
          <p:nvPr>
            <p:ph type="title"/>
          </p:nvPr>
        </p:nvSpPr>
        <p:spPr>
          <a:xfrm>
            <a:off x="1792288" y="3086100"/>
            <a:ext cx="5486400" cy="2281238"/>
          </a:xfrm>
          <a:prstGeom prst="rect">
            <a:avLst/>
          </a:prstGeom>
        </p:spPr>
        <p:txBody>
          <a:bodyPr anchor="b"/>
          <a:lstStyle>
            <a:lvl1pPr>
              <a:defRPr sz="2000"/>
            </a:lvl1pPr>
          </a:lstStyle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nb-NO" sz="2000" b="1" smtClean="0">
                <a:solidFill>
                  <a:srgbClr val="89A218"/>
                </a:solidFill>
              </a:rPr>
              <a:t>Klikk for å redigere tittelstil</a:t>
            </a:r>
            <a:endParaRPr sz="2000" b="1">
              <a:solidFill>
                <a:srgbClr val="89A218"/>
              </a:solidFill>
            </a:endParaRPr>
          </a:p>
        </p:txBody>
      </p:sp>
      <p:sp>
        <p:nvSpPr>
          <p:cNvPr id="39" name="Shape 39"/>
          <p:cNvSpPr>
            <a:spLocks noGrp="1"/>
          </p:cNvSpPr>
          <p:nvPr>
            <p:ph type="body" idx="1"/>
          </p:nvPr>
        </p:nvSpPr>
        <p:spPr>
          <a:xfrm>
            <a:off x="1792288" y="5367338"/>
            <a:ext cx="5486400" cy="14906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300"/>
              </a:spcBef>
              <a:buClrTx/>
              <a:buSzTx/>
              <a:buFontTx/>
              <a:buNone/>
              <a:defRPr sz="1400"/>
            </a:lvl1pPr>
            <a:lvl2pPr marL="0" indent="457200">
              <a:spcBef>
                <a:spcPts val="300"/>
              </a:spcBef>
              <a:buClrTx/>
              <a:buSzTx/>
              <a:buFontTx/>
              <a:buNone/>
              <a:defRPr sz="1400"/>
            </a:lvl2pPr>
            <a:lvl3pPr marL="0" indent="914400">
              <a:spcBef>
                <a:spcPts val="300"/>
              </a:spcBef>
              <a:buClrTx/>
              <a:buSzTx/>
              <a:buFontTx/>
              <a:buNone/>
              <a:defRPr sz="1400"/>
            </a:lvl3pPr>
            <a:lvl4pPr marL="0" indent="1371600">
              <a:spcBef>
                <a:spcPts val="300"/>
              </a:spcBef>
              <a:buClrTx/>
              <a:buSzTx/>
              <a:buFontTx/>
              <a:buNone/>
              <a:defRPr sz="1400"/>
            </a:lvl4pPr>
            <a:lvl5pPr marL="0" indent="1828800">
              <a:spcBef>
                <a:spcPts val="300"/>
              </a:spcBef>
              <a:buClrTx/>
              <a:buSzTx/>
              <a:buFontTx/>
              <a:buNone/>
              <a:defRPr sz="1400"/>
            </a:lvl5pPr>
          </a:lstStyle>
          <a:p>
            <a:pPr lvl="0">
              <a:defRPr sz="1800"/>
            </a:pPr>
            <a:r>
              <a:rPr lang="nb-NO" sz="1400" smtClean="0"/>
              <a:t>Klikk for å redigere tekststiler i malen</a:t>
            </a:r>
          </a:p>
          <a:p>
            <a:pPr lvl="1">
              <a:defRPr sz="1800"/>
            </a:pPr>
            <a:r>
              <a:rPr lang="nb-NO" sz="1400" smtClean="0"/>
              <a:t>Andre nivå</a:t>
            </a:r>
          </a:p>
          <a:p>
            <a:pPr lvl="2">
              <a:defRPr sz="1800"/>
            </a:pPr>
            <a:r>
              <a:rPr lang="nb-NO" sz="1400" smtClean="0"/>
              <a:t>Tredje nivå</a:t>
            </a:r>
          </a:p>
          <a:p>
            <a:pPr lvl="3">
              <a:defRPr sz="1800"/>
            </a:pPr>
            <a:r>
              <a:rPr lang="nb-NO" sz="1400" smtClean="0"/>
              <a:t>Fjerde nivå</a:t>
            </a:r>
          </a:p>
          <a:p>
            <a:pPr lvl="4">
              <a:defRPr sz="1800"/>
            </a:pPr>
            <a:r>
              <a:rPr lang="nb-NO" sz="1400" smtClean="0"/>
              <a:t>Femte nivå</a:t>
            </a:r>
            <a:endParaRPr sz="1400"/>
          </a:p>
        </p:txBody>
      </p:sp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hape 14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15" name="Shape 15"/>
          <p:cNvSpPr>
            <a:spLocks noGrp="1"/>
          </p:cNvSpPr>
          <p:nvPr>
            <p:ph type="body" idx="1"/>
          </p:nvPr>
        </p:nvSpPr>
        <p:spPr>
          <a:xfrm>
            <a:off x="901898" y="1946672"/>
            <a:ext cx="3545086" cy="4018359"/>
          </a:xfrm>
          <a:prstGeom prst="rect">
            <a:avLst/>
          </a:prstGeom>
        </p:spPr>
        <p:txBody>
          <a:bodyPr/>
          <a:lstStyle>
            <a:lvl1pPr marL="197385" indent="-197385">
              <a:spcBef>
                <a:spcPts val="2250"/>
              </a:spcBef>
              <a:defRPr sz="1969"/>
            </a:lvl1pPr>
            <a:lvl2pPr marL="465267" indent="-197385">
              <a:spcBef>
                <a:spcPts val="2250"/>
              </a:spcBef>
              <a:defRPr sz="1969"/>
            </a:lvl2pPr>
            <a:lvl3pPr marL="733148" indent="-197385">
              <a:spcBef>
                <a:spcPts val="2250"/>
              </a:spcBef>
              <a:defRPr sz="1969"/>
            </a:lvl3pPr>
            <a:lvl4pPr marL="1001029" indent="-197385">
              <a:spcBef>
                <a:spcPts val="2250"/>
              </a:spcBef>
              <a:defRPr sz="1969"/>
            </a:lvl4pPr>
            <a:lvl5pPr marL="1268910" indent="-197385">
              <a:spcBef>
                <a:spcPts val="2250"/>
              </a:spcBef>
              <a:defRPr sz="1969"/>
            </a:lvl5pPr>
          </a:lstStyle>
          <a:p>
            <a:pPr lvl="0">
              <a:defRPr sz="1800"/>
            </a:pPr>
            <a:r>
              <a:rPr sz="1969"/>
              <a:t>Brødtekst nivå én</a:t>
            </a:r>
          </a:p>
          <a:p>
            <a:pPr lvl="1">
              <a:defRPr sz="1800"/>
            </a:pPr>
            <a:r>
              <a:rPr sz="1969"/>
              <a:t>Brødtekst nivå to</a:t>
            </a:r>
          </a:p>
          <a:p>
            <a:pPr lvl="2">
              <a:defRPr sz="1800"/>
            </a:pPr>
            <a:r>
              <a:rPr sz="1969"/>
              <a:t>Brødtekst nivå tre</a:t>
            </a:r>
          </a:p>
          <a:p>
            <a:pPr lvl="3">
              <a:defRPr sz="1800"/>
            </a:pPr>
            <a:r>
              <a:rPr sz="1969"/>
              <a:t>Brødtekst nivå fire</a:t>
            </a:r>
          </a:p>
          <a:p>
            <a:pPr lvl="4">
              <a:defRPr sz="1800"/>
            </a:pPr>
            <a:r>
              <a:rPr sz="1969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1825999681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</p:spTree>
    <p:extLst>
      <p:ext uri="{BB962C8B-B14F-4D97-AF65-F5344CB8AC3E}">
        <p14:creationId xmlns:p14="http://schemas.microsoft.com/office/powerpoint/2010/main" val="3248069371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4932999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body" idx="1"/>
          </p:nvPr>
        </p:nvSpPr>
        <p:spPr>
          <a:xfrm>
            <a:off x="892969" y="892969"/>
            <a:ext cx="7358063" cy="5072063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1306854946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2018758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1.jpg" descr="side_nede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1" y="5988050"/>
            <a:ext cx="9180513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24" name="image2.jpg" descr="symbol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25" name="Shape 25"/>
          <p:cNvSpPr>
            <a:spLocks noGrp="1"/>
          </p:cNvSpPr>
          <p:nvPr>
            <p:ph type="sldNum" sz="quarter" idx="2"/>
          </p:nvPr>
        </p:nvSpPr>
        <p:spPr>
          <a:xfrm>
            <a:off x="6553200" y="6553200"/>
            <a:ext cx="2362200" cy="250259"/>
          </a:xfrm>
          <a:prstGeom prst="rect">
            <a:avLst/>
          </a:prstGeom>
          <a:ln w="12700">
            <a:miter lim="400000"/>
          </a:ln>
        </p:spPr>
        <p:txBody>
          <a:bodyPr lIns="65023" tIns="65023" rIns="65023" bIns="65023">
            <a:spAutoFit/>
          </a:bodyPr>
          <a:lstStyle>
            <a:lvl1pPr algn="r" defTabSz="642915">
              <a:defRPr sz="773" b="1">
                <a:solidFill>
                  <a:srgbClr val="F9EEC9"/>
                </a:solidFill>
                <a:uFill>
                  <a:solidFill>
                    <a:srgbClr val="F9EEC9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6111560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image1.jpg" descr="side_nede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1" y="5988050"/>
            <a:ext cx="9180513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" name="image2.jpg" descr="symbol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29" name="Shape 29"/>
          <p:cNvSpPr>
            <a:spLocks noGrp="1"/>
          </p:cNvSpPr>
          <p:nvPr>
            <p:ph type="sldNum" sz="quarter" idx="2"/>
          </p:nvPr>
        </p:nvSpPr>
        <p:spPr>
          <a:xfrm>
            <a:off x="6553200" y="6553200"/>
            <a:ext cx="2362200" cy="250259"/>
          </a:xfrm>
          <a:prstGeom prst="rect">
            <a:avLst/>
          </a:prstGeom>
          <a:ln w="12700">
            <a:miter lim="400000"/>
          </a:ln>
        </p:spPr>
        <p:txBody>
          <a:bodyPr lIns="65023" tIns="65023" rIns="65023" bIns="65023">
            <a:spAutoFit/>
          </a:bodyPr>
          <a:lstStyle>
            <a:lvl1pPr algn="r" defTabSz="642915">
              <a:defRPr sz="773" b="1">
                <a:solidFill>
                  <a:srgbClr val="F9EEC9"/>
                </a:solidFill>
                <a:uFill>
                  <a:solidFill>
                    <a:srgbClr val="F9EEC9"/>
                  </a:solidFill>
                </a:u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32391407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nb-NO" sz="2800" b="1" smtClean="0">
                <a:solidFill>
                  <a:srgbClr val="89A218"/>
                </a:solidFill>
              </a:rPr>
              <a:t>Klikk for å redigere tittelstil</a:t>
            </a:r>
            <a:endParaRPr sz="2800" b="1">
              <a:solidFill>
                <a:srgbClr val="89A218"/>
              </a:solidFill>
            </a:endParaRPr>
          </a:p>
        </p:txBody>
      </p:sp>
      <p:sp>
        <p:nvSpPr>
          <p:cNvPr id="43" name="Shape 4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lang="nb-NO" sz="2800" smtClean="0"/>
              <a:t>Klikk for å redigere tekststiler i malen</a:t>
            </a:r>
          </a:p>
          <a:p>
            <a:pPr lvl="1">
              <a:defRPr sz="1800"/>
            </a:pPr>
            <a:r>
              <a:rPr lang="nb-NO" sz="2800" smtClean="0"/>
              <a:t>Andre nivå</a:t>
            </a:r>
          </a:p>
          <a:p>
            <a:pPr lvl="2">
              <a:defRPr sz="1800"/>
            </a:pPr>
            <a:r>
              <a:rPr lang="nb-NO" sz="2800" smtClean="0"/>
              <a:t>Tredje nivå</a:t>
            </a:r>
          </a:p>
          <a:p>
            <a:pPr lvl="3">
              <a:defRPr sz="1800"/>
            </a:pPr>
            <a:r>
              <a:rPr lang="nb-NO" sz="2800" smtClean="0"/>
              <a:t>Fjerde nivå</a:t>
            </a:r>
          </a:p>
          <a:p>
            <a:pPr lvl="4">
              <a:defRPr sz="1800"/>
            </a:pPr>
            <a:r>
              <a:rPr lang="nb-NO" sz="2800" smtClean="0"/>
              <a:t>Femte nivå</a:t>
            </a:r>
            <a:endParaRPr sz="2800"/>
          </a:p>
        </p:txBody>
      </p:sp>
      <p:sp>
        <p:nvSpPr>
          <p:cNvPr id="44" name="Shape 4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Shape 46"/>
          <p:cNvSpPr>
            <a:spLocks noGrp="1"/>
          </p:cNvSpPr>
          <p:nvPr>
            <p:ph type="title"/>
          </p:nvPr>
        </p:nvSpPr>
        <p:spPr>
          <a:xfrm>
            <a:off x="6705600" y="457200"/>
            <a:ext cx="2057400" cy="6400800"/>
          </a:xfrm>
          <a:prstGeom prst="rect">
            <a:avLst/>
          </a:prstGeom>
        </p:spPr>
        <p:txBody>
          <a:bodyPr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nb-NO" sz="2800" b="1" smtClean="0">
                <a:solidFill>
                  <a:srgbClr val="89A218"/>
                </a:solidFill>
              </a:rPr>
              <a:t>Klikk for å redigere tittelstil</a:t>
            </a:r>
            <a:endParaRPr sz="2800" b="1">
              <a:solidFill>
                <a:srgbClr val="89A218"/>
              </a:solidFill>
            </a:endParaRPr>
          </a:p>
        </p:txBody>
      </p:sp>
      <p:sp>
        <p:nvSpPr>
          <p:cNvPr id="47" name="Shape 47"/>
          <p:cNvSpPr>
            <a:spLocks noGrp="1"/>
          </p:cNvSpPr>
          <p:nvPr>
            <p:ph type="body" idx="1"/>
          </p:nvPr>
        </p:nvSpPr>
        <p:spPr>
          <a:xfrm>
            <a:off x="533400" y="457200"/>
            <a:ext cx="6019800" cy="6400800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lang="nb-NO" sz="2800" smtClean="0"/>
              <a:t>Klikk for å redigere tekststiler i malen</a:t>
            </a:r>
          </a:p>
          <a:p>
            <a:pPr lvl="1">
              <a:defRPr sz="1800"/>
            </a:pPr>
            <a:r>
              <a:rPr lang="nb-NO" sz="2800" smtClean="0"/>
              <a:t>Andre nivå</a:t>
            </a:r>
          </a:p>
          <a:p>
            <a:pPr lvl="2">
              <a:defRPr sz="1800"/>
            </a:pPr>
            <a:r>
              <a:rPr lang="nb-NO" sz="2800" smtClean="0"/>
              <a:t>Tredje nivå</a:t>
            </a:r>
          </a:p>
          <a:p>
            <a:pPr lvl="3">
              <a:defRPr sz="1800"/>
            </a:pPr>
            <a:r>
              <a:rPr lang="nb-NO" sz="2800" smtClean="0"/>
              <a:t>Fjerde nivå</a:t>
            </a:r>
          </a:p>
          <a:p>
            <a:pPr lvl="4">
              <a:defRPr sz="1800"/>
            </a:pPr>
            <a:r>
              <a:rPr lang="nb-NO" sz="2800" smtClean="0"/>
              <a:t>Femte nivå</a:t>
            </a:r>
            <a:endParaRPr sz="2800"/>
          </a:p>
        </p:txBody>
      </p:sp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290515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smtClean="0"/>
              <a:t>Klikk for å redigere tittelstil</a:t>
            </a:r>
            <a:endParaRPr lang="en-GB" noProof="0" dirty="0" smtClean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391759" y="6583304"/>
            <a:ext cx="346075" cy="12824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038"/>
              </a:lnSpc>
              <a:defRPr sz="738" b="0">
                <a:solidFill>
                  <a:schemeClr val="tx2"/>
                </a:solidFill>
              </a:defRPr>
            </a:lvl1pPr>
          </a:lstStyle>
          <a:p>
            <a:fld id="{07DDA470-64EC-4838-8513-FA93D4181BA0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4190" y="1135401"/>
            <a:ext cx="8354157" cy="240963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477" b="1" smtClean="0"/>
            </a:lvl1pPr>
          </a:lstStyle>
          <a:p>
            <a:r>
              <a:rPr lang="nb-NO" noProof="0" smtClean="0"/>
              <a:t>Klikk for å redigere undertittelstil i malen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4189" y="1384300"/>
            <a:ext cx="8350251" cy="4933950"/>
          </a:xfrm>
          <a:prstGeom prst="rect">
            <a:avLst/>
          </a:prstGeom>
        </p:spPr>
        <p:txBody>
          <a:bodyPr wrap="square" lIns="0" tIns="0" rIns="0" bIns="0"/>
          <a:lstStyle>
            <a:lvl1pPr marL="167058" indent="-167058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292">
                <a:solidFill>
                  <a:schemeClr val="tx2"/>
                </a:solidFill>
              </a:defRPr>
            </a:lvl1pPr>
            <a:lvl2pPr marL="332651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2pPr>
            <a:lvl3pPr marL="499709" indent="-158265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3pPr>
            <a:lvl4pPr marL="656509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−"/>
              <a:defRPr sz="1108">
                <a:solidFill>
                  <a:schemeClr val="tx2"/>
                </a:solidFill>
              </a:defRPr>
            </a:lvl4pPr>
            <a:lvl5pPr marL="822102" indent="-165593">
              <a:lnSpc>
                <a:spcPct val="100000"/>
              </a:lnSpc>
              <a:spcBef>
                <a:spcPts val="554"/>
              </a:spcBef>
              <a:spcAft>
                <a:spcPts val="0"/>
              </a:spcAft>
              <a:buFont typeface="Arial" pitchFamily="34" charset="0"/>
              <a:buChar char="•"/>
              <a:defRPr sz="1108">
                <a:solidFill>
                  <a:schemeClr val="tx2"/>
                </a:solidFill>
              </a:defRPr>
            </a:lvl5pPr>
            <a:lvl6pPr marL="830790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996948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163106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329264" indent="-166158">
              <a:lnSpc>
                <a:spcPct val="100000"/>
              </a:lnSpc>
              <a:spcBef>
                <a:spcPts val="369"/>
              </a:spcBef>
              <a:spcAft>
                <a:spcPts val="0"/>
              </a:spcAft>
              <a:defRPr sz="1108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smtClean="0"/>
              <a:t>Klikk for å redigere tekststiler i malen</a:t>
            </a:r>
          </a:p>
          <a:p>
            <a:pPr lvl="1"/>
            <a:r>
              <a:rPr lang="nb-NO" noProof="0" smtClean="0"/>
              <a:t>Andre nivå</a:t>
            </a:r>
          </a:p>
          <a:p>
            <a:pPr lvl="2"/>
            <a:r>
              <a:rPr lang="nb-NO" noProof="0" smtClean="0"/>
              <a:t>Tredje nivå</a:t>
            </a:r>
          </a:p>
          <a:p>
            <a:pPr lvl="3"/>
            <a:r>
              <a:rPr lang="nb-NO" noProof="0" smtClean="0"/>
              <a:t>Fjerde nivå</a:t>
            </a:r>
          </a:p>
          <a:p>
            <a:pPr lvl="4"/>
            <a:r>
              <a:rPr lang="nb-NO" noProof="0" smtClean="0"/>
              <a:t>Femte nivå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06723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0986534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12" Type="http://schemas.openxmlformats.org/officeDocument/2006/relationships/tags" Target="../tags/tag10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ags" Target="../tags/tag9.xml"/><Relationship Id="rId5" Type="http://schemas.openxmlformats.org/officeDocument/2006/relationships/slideLayout" Target="../slideLayouts/slideLayout15.xml"/><Relationship Id="rId10" Type="http://schemas.openxmlformats.org/officeDocument/2006/relationships/tags" Target="../tags/tag8.xml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11351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think-cell Slide" r:id="rId14" imgW="473" imgH="470" progId="TCLayout.ActiveDocument.1">
                  <p:embed/>
                </p:oleObj>
              </mc:Choice>
              <mc:Fallback>
                <p:oleObj name="think-cell Slide" r:id="rId1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1.jpeg" descr="side_nede"/>
          <p:cNvPicPr/>
          <p:nvPr/>
        </p:nvPicPr>
        <p:blipFill>
          <a:blip r:embed="rId16">
            <a:extLst/>
          </a:blip>
          <a:stretch>
            <a:fillRect/>
          </a:stretch>
        </p:blipFill>
        <p:spPr>
          <a:xfrm>
            <a:off x="0" y="5988050"/>
            <a:ext cx="9180513" cy="869950"/>
          </a:xfrm>
          <a:prstGeom prst="rect">
            <a:avLst/>
          </a:prstGeom>
          <a:ln w="12700">
            <a:miter lim="400000"/>
          </a:ln>
        </p:spPr>
      </p:pic>
      <p:pic>
        <p:nvPicPr>
          <p:cNvPr id="3" name="image2.jpeg" descr="symbol"/>
          <p:cNvPicPr/>
          <p:nvPr/>
        </p:nvPicPr>
        <p:blipFill>
          <a:blip r:embed="rId17">
            <a:extLst/>
          </a:blip>
          <a:stretch>
            <a:fillRect/>
          </a:stretch>
        </p:blipFill>
        <p:spPr>
          <a:xfrm>
            <a:off x="8229600" y="5700713"/>
            <a:ext cx="765175" cy="623887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533400" y="457200"/>
            <a:ext cx="8229600" cy="1295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/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sz="2800" b="1">
                <a:solidFill>
                  <a:srgbClr val="89A218"/>
                </a:solidFill>
              </a:rPr>
              <a:t>Titteltekst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533400" y="1752600"/>
            <a:ext cx="8229600" cy="51054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9" rIns="45719"/>
          <a:lstStyle/>
          <a:p>
            <a:pPr lvl="0">
              <a:defRPr sz="1800"/>
            </a:pPr>
            <a:r>
              <a:rPr sz="2800"/>
              <a:t>Brødtekst nivå én</a:t>
            </a:r>
          </a:p>
          <a:p>
            <a:pPr lvl="1">
              <a:defRPr sz="1800"/>
            </a:pPr>
            <a:r>
              <a:rPr sz="2800"/>
              <a:t>Brødtekst nivå to</a:t>
            </a:r>
          </a:p>
          <a:p>
            <a:pPr lvl="2">
              <a:defRPr sz="1800"/>
            </a:pPr>
            <a:r>
              <a:rPr sz="2800"/>
              <a:t>Brødtekst nivå tre</a:t>
            </a:r>
          </a:p>
          <a:p>
            <a:pPr lvl="3">
              <a:defRPr sz="1800"/>
            </a:pPr>
            <a:r>
              <a:rPr sz="2800"/>
              <a:t>Brødtekst nivå fire</a:t>
            </a:r>
          </a:p>
          <a:p>
            <a:pPr lvl="4">
              <a:defRPr sz="1800"/>
            </a:pPr>
            <a:r>
              <a:rPr sz="2800"/>
              <a:t>Brødtekst nivå fem</a:t>
            </a:r>
          </a:p>
        </p:txBody>
      </p:sp>
      <p:sp>
        <p:nvSpPr>
          <p:cNvPr id="6" name="Shape 6"/>
          <p:cNvSpPr>
            <a:spLocks noGrp="1"/>
          </p:cNvSpPr>
          <p:nvPr>
            <p:ph type="sldNum" sz="quarter" idx="2"/>
          </p:nvPr>
        </p:nvSpPr>
        <p:spPr>
          <a:xfrm>
            <a:off x="6553200" y="6553200"/>
            <a:ext cx="2362200" cy="218440"/>
          </a:xfrm>
          <a:prstGeom prst="rect">
            <a:avLst/>
          </a:prstGeom>
          <a:ln w="12700">
            <a:miter lim="400000"/>
          </a:ln>
        </p:spPr>
        <p:txBody>
          <a:bodyPr lIns="45719" rIns="45719">
            <a:spAutoFit/>
          </a:bodyPr>
          <a:lstStyle>
            <a:lvl1pPr algn="r">
              <a:defRPr sz="800" b="1">
                <a:solidFill>
                  <a:srgbClr val="F9EEC9"/>
                </a:solidFill>
              </a:defRPr>
            </a:lvl1pPr>
          </a:lstStyle>
          <a:p>
            <a:pPr lvl="0"/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3" r:id="rId3"/>
    <p:sldLayoutId id="2147483656" r:id="rId4"/>
    <p:sldLayoutId id="2147483657" r:id="rId5"/>
    <p:sldLayoutId id="2147483658" r:id="rId6"/>
    <p:sldLayoutId id="2147483659" r:id="rId7"/>
    <p:sldLayoutId id="2147483669" r:id="rId8"/>
    <p:sldLayoutId id="2147483672" r:id="rId9"/>
    <p:sldLayoutId id="2147483673" r:id="rId10"/>
  </p:sldLayoutIdLst>
  <p:transition spd="med"/>
  <p:txStyles>
    <p:titleStyle>
      <a:lvl1pPr eaLnBrk="1" hangingPunct="1">
        <a:defRPr sz="2800" b="1">
          <a:solidFill>
            <a:srgbClr val="89A218"/>
          </a:solidFill>
          <a:latin typeface="Univers LT 53 Extended"/>
          <a:ea typeface="Univers LT 53 Extended"/>
          <a:cs typeface="Univers LT 53 Extended"/>
          <a:sym typeface="Univers LT 53 Extended"/>
        </a:defRPr>
      </a:lvl1pPr>
      <a:lvl2pPr eaLnBrk="1" hangingPunct="1">
        <a:defRPr sz="2800" b="1">
          <a:solidFill>
            <a:srgbClr val="89A218"/>
          </a:solidFill>
          <a:latin typeface="Univers LT 53 Extended"/>
          <a:ea typeface="Univers LT 53 Extended"/>
          <a:cs typeface="Univers LT 53 Extended"/>
          <a:sym typeface="Univers LT 53 Extended"/>
        </a:defRPr>
      </a:lvl2pPr>
      <a:lvl3pPr eaLnBrk="1" hangingPunct="1">
        <a:defRPr sz="2800" b="1">
          <a:solidFill>
            <a:srgbClr val="89A218"/>
          </a:solidFill>
          <a:latin typeface="Univers LT 53 Extended"/>
          <a:ea typeface="Univers LT 53 Extended"/>
          <a:cs typeface="Univers LT 53 Extended"/>
          <a:sym typeface="Univers LT 53 Extended"/>
        </a:defRPr>
      </a:lvl3pPr>
      <a:lvl4pPr eaLnBrk="1" hangingPunct="1">
        <a:defRPr sz="2800" b="1">
          <a:solidFill>
            <a:srgbClr val="89A218"/>
          </a:solidFill>
          <a:latin typeface="Univers LT 53 Extended"/>
          <a:ea typeface="Univers LT 53 Extended"/>
          <a:cs typeface="Univers LT 53 Extended"/>
          <a:sym typeface="Univers LT 53 Extended"/>
        </a:defRPr>
      </a:lvl4pPr>
      <a:lvl5pPr eaLnBrk="1" hangingPunct="1">
        <a:defRPr sz="2800" b="1">
          <a:solidFill>
            <a:srgbClr val="89A218"/>
          </a:solidFill>
          <a:latin typeface="Univers LT 53 Extended"/>
          <a:ea typeface="Univers LT 53 Extended"/>
          <a:cs typeface="Univers LT 53 Extended"/>
          <a:sym typeface="Univers LT 53 Extended"/>
        </a:defRPr>
      </a:lvl5pPr>
      <a:lvl6pPr indent="457200" eaLnBrk="1" hangingPunct="1">
        <a:defRPr sz="2800" b="1">
          <a:solidFill>
            <a:srgbClr val="89A218"/>
          </a:solidFill>
          <a:latin typeface="Univers LT 53 Extended"/>
          <a:ea typeface="Univers LT 53 Extended"/>
          <a:cs typeface="Univers LT 53 Extended"/>
          <a:sym typeface="Univers LT 53 Extended"/>
        </a:defRPr>
      </a:lvl6pPr>
      <a:lvl7pPr indent="914400" eaLnBrk="1" hangingPunct="1">
        <a:defRPr sz="2800" b="1">
          <a:solidFill>
            <a:srgbClr val="89A218"/>
          </a:solidFill>
          <a:latin typeface="Univers LT 53 Extended"/>
          <a:ea typeface="Univers LT 53 Extended"/>
          <a:cs typeface="Univers LT 53 Extended"/>
          <a:sym typeface="Univers LT 53 Extended"/>
        </a:defRPr>
      </a:lvl7pPr>
      <a:lvl8pPr indent="1371600" eaLnBrk="1" hangingPunct="1">
        <a:defRPr sz="2800" b="1">
          <a:solidFill>
            <a:srgbClr val="89A218"/>
          </a:solidFill>
          <a:latin typeface="Univers LT 53 Extended"/>
          <a:ea typeface="Univers LT 53 Extended"/>
          <a:cs typeface="Univers LT 53 Extended"/>
          <a:sym typeface="Univers LT 53 Extended"/>
        </a:defRPr>
      </a:lvl8pPr>
      <a:lvl9pPr indent="1828800" eaLnBrk="1" hangingPunct="1">
        <a:defRPr sz="2800" b="1">
          <a:solidFill>
            <a:srgbClr val="89A218"/>
          </a:solidFill>
          <a:latin typeface="Univers LT 53 Extended"/>
          <a:ea typeface="Univers LT 53 Extended"/>
          <a:cs typeface="Univers LT 53 Extended"/>
          <a:sym typeface="Univers LT 53 Extended"/>
        </a:defRPr>
      </a:lvl9pPr>
    </p:titleStyle>
    <p:bodyStyle>
      <a:lvl1pPr marL="342900" indent="-342900" eaLnBrk="1" hangingPunct="1">
        <a:spcBef>
          <a:spcPts val="600"/>
        </a:spcBef>
        <a:buClr>
          <a:srgbClr val="000000"/>
        </a:buClr>
        <a:buSzPct val="100000"/>
        <a:buFont typeface="Helvetica"/>
        <a:buChar char="•"/>
        <a:defRPr sz="2800">
          <a:latin typeface="Univers LT 53 Extended"/>
          <a:ea typeface="Univers LT 53 Extended"/>
          <a:cs typeface="Univers LT 53 Extended"/>
          <a:sym typeface="Univers LT 53 Extended"/>
        </a:defRPr>
      </a:lvl1pPr>
      <a:lvl2pPr marL="790575" indent="-333375" eaLnBrk="1" hangingPunct="1">
        <a:spcBef>
          <a:spcPts val="600"/>
        </a:spcBef>
        <a:buClr>
          <a:srgbClr val="000000"/>
        </a:buClr>
        <a:buSzPct val="100000"/>
        <a:buFont typeface="Helvetica"/>
        <a:buChar char="•"/>
        <a:defRPr sz="2800">
          <a:latin typeface="Univers LT 53 Extended"/>
          <a:ea typeface="Univers LT 53 Extended"/>
          <a:cs typeface="Univers LT 53 Extended"/>
          <a:sym typeface="Univers LT 53 Extended"/>
        </a:defRPr>
      </a:lvl2pPr>
      <a:lvl3pPr marL="1270000" indent="-355600" eaLnBrk="1" hangingPunct="1">
        <a:spcBef>
          <a:spcPts val="600"/>
        </a:spcBef>
        <a:buClr>
          <a:srgbClr val="000000"/>
        </a:buClr>
        <a:buSzPct val="80000"/>
        <a:buFont typeface="Helvetica"/>
        <a:buChar char="•"/>
        <a:defRPr sz="2800">
          <a:latin typeface="Univers LT 53 Extended"/>
          <a:ea typeface="Univers LT 53 Extended"/>
          <a:cs typeface="Univers LT 53 Extended"/>
          <a:sym typeface="Univers LT 53 Extended"/>
        </a:defRPr>
      </a:lvl3pPr>
      <a:lvl4pPr marL="1727200" indent="-355600" eaLnBrk="1" hangingPunct="1">
        <a:spcBef>
          <a:spcPts val="600"/>
        </a:spcBef>
        <a:buClr>
          <a:srgbClr val="000000"/>
        </a:buClr>
        <a:buSzPct val="100000"/>
        <a:buFont typeface="Helvetica"/>
        <a:buChar char="–"/>
        <a:defRPr sz="2800">
          <a:latin typeface="Univers LT 53 Extended"/>
          <a:ea typeface="Univers LT 53 Extended"/>
          <a:cs typeface="Univers LT 53 Extended"/>
          <a:sym typeface="Univers LT 53 Extended"/>
        </a:defRPr>
      </a:lvl4pPr>
      <a:lvl5pPr marL="2184400" indent="-355600" eaLnBrk="1" hangingPunct="1">
        <a:spcBef>
          <a:spcPts val="600"/>
        </a:spcBef>
        <a:buClr>
          <a:srgbClr val="000000"/>
        </a:buClr>
        <a:buSzPct val="100000"/>
        <a:buFont typeface="Helvetica"/>
        <a:buChar char="»"/>
        <a:defRPr sz="2800">
          <a:latin typeface="Univers LT 53 Extended"/>
          <a:ea typeface="Univers LT 53 Extended"/>
          <a:cs typeface="Univers LT 53 Extended"/>
          <a:sym typeface="Univers LT 53 Extended"/>
        </a:defRPr>
      </a:lvl5pPr>
      <a:lvl6pPr marL="2641600" indent="-355600" eaLnBrk="1" hangingPunct="1">
        <a:spcBef>
          <a:spcPts val="600"/>
        </a:spcBef>
        <a:buClr>
          <a:srgbClr val="000000"/>
        </a:buClr>
        <a:buSzPct val="100000"/>
        <a:buFont typeface="Helvetica"/>
        <a:buChar char="»"/>
        <a:defRPr sz="2800">
          <a:latin typeface="Univers LT 53 Extended"/>
          <a:ea typeface="Univers LT 53 Extended"/>
          <a:cs typeface="Univers LT 53 Extended"/>
          <a:sym typeface="Univers LT 53 Extended"/>
        </a:defRPr>
      </a:lvl6pPr>
      <a:lvl7pPr marL="3098800" indent="-355600" eaLnBrk="1" hangingPunct="1">
        <a:spcBef>
          <a:spcPts val="600"/>
        </a:spcBef>
        <a:buClr>
          <a:srgbClr val="000000"/>
        </a:buClr>
        <a:buSzPct val="100000"/>
        <a:buFont typeface="Helvetica"/>
        <a:buChar char="»"/>
        <a:defRPr sz="2800">
          <a:latin typeface="Univers LT 53 Extended"/>
          <a:ea typeface="Univers LT 53 Extended"/>
          <a:cs typeface="Univers LT 53 Extended"/>
          <a:sym typeface="Univers LT 53 Extended"/>
        </a:defRPr>
      </a:lvl7pPr>
      <a:lvl8pPr marL="3556000" indent="-355600" eaLnBrk="1" hangingPunct="1">
        <a:spcBef>
          <a:spcPts val="600"/>
        </a:spcBef>
        <a:buClr>
          <a:srgbClr val="000000"/>
        </a:buClr>
        <a:buSzPct val="100000"/>
        <a:buFont typeface="Helvetica"/>
        <a:buChar char="»"/>
        <a:defRPr sz="2800">
          <a:latin typeface="Univers LT 53 Extended"/>
          <a:ea typeface="Univers LT 53 Extended"/>
          <a:cs typeface="Univers LT 53 Extended"/>
          <a:sym typeface="Univers LT 53 Extended"/>
        </a:defRPr>
      </a:lvl8pPr>
      <a:lvl9pPr marL="4013200" indent="-355600" eaLnBrk="1" hangingPunct="1">
        <a:spcBef>
          <a:spcPts val="600"/>
        </a:spcBef>
        <a:buClr>
          <a:srgbClr val="000000"/>
        </a:buClr>
        <a:buSzPct val="100000"/>
        <a:buFont typeface="Helvetica"/>
        <a:buChar char="»"/>
        <a:defRPr sz="2800">
          <a:latin typeface="Univers LT 53 Extended"/>
          <a:ea typeface="Univers LT 53 Extended"/>
          <a:cs typeface="Univers LT 53 Extended"/>
          <a:sym typeface="Univers LT 53 Extended"/>
        </a:defRPr>
      </a:lvl9pPr>
    </p:bodyStyle>
    <p:otherStyle>
      <a:lvl1pPr algn="r" eaLnBrk="1" hangingPunct="1">
        <a:defRPr sz="800" b="1">
          <a:solidFill>
            <a:schemeClr val="tx1"/>
          </a:solidFill>
          <a:latin typeface="+mn-lt"/>
          <a:ea typeface="+mn-ea"/>
          <a:cs typeface="+mn-cs"/>
          <a:sym typeface="Univers LT 53 Extended"/>
        </a:defRPr>
      </a:lvl1pPr>
      <a:lvl2pPr indent="457200" algn="r" eaLnBrk="1" hangingPunct="1">
        <a:defRPr sz="800" b="1">
          <a:solidFill>
            <a:schemeClr val="tx1"/>
          </a:solidFill>
          <a:latin typeface="+mn-lt"/>
          <a:ea typeface="+mn-ea"/>
          <a:cs typeface="+mn-cs"/>
          <a:sym typeface="Univers LT 53 Extended"/>
        </a:defRPr>
      </a:lvl2pPr>
      <a:lvl3pPr indent="914400" algn="r" eaLnBrk="1" hangingPunct="1">
        <a:defRPr sz="800" b="1">
          <a:solidFill>
            <a:schemeClr val="tx1"/>
          </a:solidFill>
          <a:latin typeface="+mn-lt"/>
          <a:ea typeface="+mn-ea"/>
          <a:cs typeface="+mn-cs"/>
          <a:sym typeface="Univers LT 53 Extended"/>
        </a:defRPr>
      </a:lvl3pPr>
      <a:lvl4pPr indent="1371600" algn="r" eaLnBrk="1" hangingPunct="1">
        <a:defRPr sz="800" b="1">
          <a:solidFill>
            <a:schemeClr val="tx1"/>
          </a:solidFill>
          <a:latin typeface="+mn-lt"/>
          <a:ea typeface="+mn-ea"/>
          <a:cs typeface="+mn-cs"/>
          <a:sym typeface="Univers LT 53 Extended"/>
        </a:defRPr>
      </a:lvl4pPr>
      <a:lvl5pPr indent="1828800" algn="r" eaLnBrk="1" hangingPunct="1">
        <a:defRPr sz="800" b="1">
          <a:solidFill>
            <a:schemeClr val="tx1"/>
          </a:solidFill>
          <a:latin typeface="+mn-lt"/>
          <a:ea typeface="+mn-ea"/>
          <a:cs typeface="+mn-cs"/>
          <a:sym typeface="Univers LT 53 Extended"/>
        </a:defRPr>
      </a:lvl5pPr>
      <a:lvl6pPr indent="2286000" algn="r" eaLnBrk="1" hangingPunct="1">
        <a:defRPr sz="800" b="1">
          <a:solidFill>
            <a:schemeClr val="tx1"/>
          </a:solidFill>
          <a:latin typeface="+mn-lt"/>
          <a:ea typeface="+mn-ea"/>
          <a:cs typeface="+mn-cs"/>
          <a:sym typeface="Univers LT 53 Extended"/>
        </a:defRPr>
      </a:lvl6pPr>
      <a:lvl7pPr indent="2743200" algn="r" eaLnBrk="1" hangingPunct="1">
        <a:defRPr sz="800" b="1">
          <a:solidFill>
            <a:schemeClr val="tx1"/>
          </a:solidFill>
          <a:latin typeface="+mn-lt"/>
          <a:ea typeface="+mn-ea"/>
          <a:cs typeface="+mn-cs"/>
          <a:sym typeface="Univers LT 53 Extended"/>
        </a:defRPr>
      </a:lvl7pPr>
      <a:lvl8pPr indent="3200400" algn="r" eaLnBrk="1" hangingPunct="1">
        <a:defRPr sz="800" b="1">
          <a:solidFill>
            <a:schemeClr val="tx1"/>
          </a:solidFill>
          <a:latin typeface="+mn-lt"/>
          <a:ea typeface="+mn-ea"/>
          <a:cs typeface="+mn-cs"/>
          <a:sym typeface="Univers LT 53 Extended"/>
        </a:defRPr>
      </a:lvl8pPr>
      <a:lvl9pPr indent="3657600" algn="r" eaLnBrk="1" hangingPunct="1">
        <a:defRPr sz="800" b="1">
          <a:solidFill>
            <a:schemeClr val="tx1"/>
          </a:solidFill>
          <a:latin typeface="+mn-lt"/>
          <a:ea typeface="+mn-ea"/>
          <a:cs typeface="+mn-cs"/>
          <a:sym typeface="Univers LT 53 Extended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7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4391759" y="6583304"/>
            <a:ext cx="346075" cy="12824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038"/>
              </a:lnSpc>
              <a:defRPr sz="738" b="0">
                <a:solidFill>
                  <a:schemeClr val="tx2"/>
                </a:solidFill>
              </a:defRPr>
            </a:lvl1pPr>
          </a:lstStyle>
          <a:p>
            <a:pPr lvl="0"/>
            <a:fld id="{86CB4B4D-7CA3-9044-876B-883B54F8677D}" type="slidenum">
              <a:rPr lang="nb-NO" smtClean="0"/>
              <a:t>‹#›</a:t>
            </a:fld>
            <a:endParaRPr lang="nb-NO"/>
          </a:p>
        </p:txBody>
      </p:sp>
      <p:sp>
        <p:nvSpPr>
          <p:cNvPr id="185350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396875" y="300038"/>
            <a:ext cx="8350250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Click to edit Master title style</a:t>
            </a:r>
          </a:p>
        </p:txBody>
      </p:sp>
      <p:sp>
        <p:nvSpPr>
          <p:cNvPr id="6" name="SD_VAR_Footer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905908" y="6583304"/>
            <a:ext cx="804707" cy="12824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84328">
              <a:lnSpc>
                <a:spcPts val="1041"/>
              </a:lnSpc>
              <a:defRPr/>
            </a:pPr>
            <a:r>
              <a:rPr lang="en-GB" sz="738" smtClean="0">
                <a:solidFill>
                  <a:schemeClr val="tx2"/>
                </a:solidFill>
              </a:rPr>
              <a:t>© 2015 Deloitte AS</a:t>
            </a:r>
            <a:endParaRPr lang="en-GB" sz="738" dirty="0" smtClean="0">
              <a:solidFill>
                <a:schemeClr val="tx2"/>
              </a:solidFill>
            </a:endParaRPr>
          </a:p>
        </p:txBody>
      </p:sp>
      <p:sp>
        <p:nvSpPr>
          <p:cNvPr id="9" name="SD_USR_Identity" hidden="1"/>
          <p:cNvSpPr>
            <a:spLocks noChangeArrowheads="1"/>
          </p:cNvSpPr>
          <p:nvPr/>
        </p:nvSpPr>
        <p:spPr bwMode="auto">
          <a:xfrm>
            <a:off x="6453817" y="6583304"/>
            <a:ext cx="471283" cy="12824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884328">
              <a:lnSpc>
                <a:spcPts val="1041"/>
              </a:lnSpc>
              <a:defRPr/>
            </a:pPr>
            <a:r>
              <a:rPr lang="en-GB" sz="738" smtClean="0">
                <a:solidFill>
                  <a:schemeClr val="tx2"/>
                </a:solidFill>
              </a:rPr>
              <a:t>Deloitte AS</a:t>
            </a:r>
            <a:endParaRPr lang="en-GB" sz="738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861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</p:sldLayoutIdLst>
  <p:timing>
    <p:tnLst>
      <p:par>
        <p:cTn id="1" dur="indefinite" restart="never" nodeType="tmRoot"/>
      </p:par>
    </p:tnLst>
  </p:timing>
  <p:txStyles>
    <p:titleStyle>
      <a:lvl1pPr algn="l" defTabSz="88364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88364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88364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88364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883649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396708" algn="l" rtl="0" eaLnBrk="1" fontAlgn="base" hangingPunct="1">
        <a:spcBef>
          <a:spcPct val="0"/>
        </a:spcBef>
        <a:spcAft>
          <a:spcPct val="0"/>
        </a:spcAft>
        <a:defRPr sz="2123" b="1">
          <a:solidFill>
            <a:schemeClr val="accent1"/>
          </a:solidFill>
          <a:latin typeface="Arial" charset="0"/>
        </a:defRPr>
      </a:lvl6pPr>
      <a:lvl7pPr marL="793416" algn="l" rtl="0" eaLnBrk="1" fontAlgn="base" hangingPunct="1">
        <a:spcBef>
          <a:spcPct val="0"/>
        </a:spcBef>
        <a:spcAft>
          <a:spcPct val="0"/>
        </a:spcAft>
        <a:defRPr sz="2123" b="1">
          <a:solidFill>
            <a:schemeClr val="accent1"/>
          </a:solidFill>
          <a:latin typeface="Arial" charset="0"/>
        </a:defRPr>
      </a:lvl7pPr>
      <a:lvl8pPr marL="1190123" algn="l" rtl="0" eaLnBrk="1" fontAlgn="base" hangingPunct="1">
        <a:spcBef>
          <a:spcPct val="0"/>
        </a:spcBef>
        <a:spcAft>
          <a:spcPct val="0"/>
        </a:spcAft>
        <a:defRPr sz="2123" b="1">
          <a:solidFill>
            <a:schemeClr val="accent1"/>
          </a:solidFill>
          <a:latin typeface="Arial" charset="0"/>
        </a:defRPr>
      </a:lvl8pPr>
      <a:lvl9pPr marL="1586831" algn="l" rtl="0" eaLnBrk="1" fontAlgn="base" hangingPunct="1">
        <a:spcBef>
          <a:spcPct val="0"/>
        </a:spcBef>
        <a:spcAft>
          <a:spcPct val="0"/>
        </a:spcAft>
        <a:defRPr sz="2123" b="1">
          <a:solidFill>
            <a:schemeClr val="accent1"/>
          </a:solidFill>
          <a:latin typeface="Arial" charset="0"/>
        </a:defRPr>
      </a:lvl9pPr>
    </p:titleStyle>
    <p:bodyStyle>
      <a:lvl1pPr marL="331185" indent="-331185" algn="l" defTabSz="883649" rtl="0" eaLnBrk="1" fontAlgn="base" hangingPunct="1">
        <a:lnSpc>
          <a:spcPct val="106000"/>
        </a:lnSpc>
        <a:spcBef>
          <a:spcPts val="1246"/>
        </a:spcBef>
        <a:spcAft>
          <a:spcPct val="0"/>
        </a:spcAft>
        <a:buFont typeface="Arial" charset="0"/>
        <a:defRPr lang="en-US" sz="1292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75851" indent="-175851" algn="l" defTabSz="883649" rtl="0" eaLnBrk="1" fontAlgn="base" hangingPunct="1">
        <a:lnSpc>
          <a:spcPct val="106000"/>
        </a:lnSpc>
        <a:spcBef>
          <a:spcPts val="1246"/>
        </a:spcBef>
        <a:spcAft>
          <a:spcPct val="0"/>
        </a:spcAft>
        <a:buFont typeface="Arial" charset="0"/>
        <a:buChar char="•"/>
        <a:defRPr lang="en-US" sz="1292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44374" indent="-168524" algn="l" defTabSz="883649" rtl="0" eaLnBrk="1" fontAlgn="base" hangingPunct="1">
        <a:lnSpc>
          <a:spcPct val="106000"/>
        </a:lnSpc>
        <a:spcBef>
          <a:spcPts val="531"/>
        </a:spcBef>
        <a:spcAft>
          <a:spcPct val="0"/>
        </a:spcAft>
        <a:buFont typeface="Arial" charset="0"/>
        <a:buChar char="‒"/>
        <a:defRPr lang="en-US" sz="1108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21690" indent="-175851" algn="l" defTabSz="883649" rtl="0" eaLnBrk="1" fontAlgn="base" hangingPunct="1">
        <a:lnSpc>
          <a:spcPct val="106000"/>
        </a:lnSpc>
        <a:spcBef>
          <a:spcPts val="531"/>
        </a:spcBef>
        <a:spcAft>
          <a:spcPct val="0"/>
        </a:spcAft>
        <a:buFont typeface="Arial" charset="0"/>
        <a:buChar char="•"/>
        <a:defRPr lang="en-US" sz="1108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687283" indent="-165593" algn="l" defTabSz="883649" rtl="0" eaLnBrk="1" fontAlgn="base" hangingPunct="1">
        <a:lnSpc>
          <a:spcPct val="106000"/>
        </a:lnSpc>
        <a:spcBef>
          <a:spcPts val="531"/>
        </a:spcBef>
        <a:spcAft>
          <a:spcPct val="0"/>
        </a:spcAft>
        <a:buFont typeface="Arial" charset="0"/>
        <a:buChar char="‒"/>
        <a:defRPr lang="en-GB" sz="1108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776886" indent="-158409" algn="l" defTabSz="793416" rtl="0" eaLnBrk="1" latinLnBrk="0" hangingPunct="1">
        <a:spcBef>
          <a:spcPts val="0"/>
        </a:spcBef>
        <a:spcAft>
          <a:spcPts val="260"/>
        </a:spcAft>
        <a:buFont typeface="Arial" pitchFamily="34" charset="0"/>
        <a:buChar char="•"/>
        <a:defRPr sz="1385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936671" indent="-159785" algn="l" defTabSz="793416" rtl="0" eaLnBrk="1" latinLnBrk="0" hangingPunct="1">
        <a:spcBef>
          <a:spcPts val="0"/>
        </a:spcBef>
        <a:spcAft>
          <a:spcPts val="260"/>
        </a:spcAft>
        <a:buFont typeface="Arial" pitchFamily="34" charset="0"/>
        <a:buChar char="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086815" indent="-150143" algn="l" defTabSz="793416" rtl="0" eaLnBrk="1" latinLnBrk="0" hangingPunct="1">
        <a:spcBef>
          <a:spcPts val="0"/>
        </a:spcBef>
        <a:spcAft>
          <a:spcPts val="260"/>
        </a:spcAft>
        <a:buFont typeface="Arial" pitchFamily="34" charset="0"/>
        <a:buChar char="•"/>
        <a:defRPr sz="12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245221" indent="-158409" algn="l" defTabSz="793416" rtl="0" eaLnBrk="1" latinLnBrk="0" hangingPunct="1">
        <a:spcBef>
          <a:spcPts val="0"/>
        </a:spcBef>
        <a:spcAft>
          <a:spcPts val="260"/>
        </a:spcAft>
        <a:buFont typeface="Arial" pitchFamily="34" charset="0"/>
        <a:buChar char="‒"/>
        <a:defRPr sz="12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93416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1pPr>
      <a:lvl2pPr marL="396708" algn="l" defTabSz="793416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2pPr>
      <a:lvl3pPr marL="793416" algn="l" defTabSz="793416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3pPr>
      <a:lvl4pPr marL="1190123" algn="l" defTabSz="793416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4pPr>
      <a:lvl5pPr marL="1586831" algn="l" defTabSz="793416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5pPr>
      <a:lvl6pPr marL="1983539" algn="l" defTabSz="793416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6pPr>
      <a:lvl7pPr marL="2380247" algn="l" defTabSz="793416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7pPr>
      <a:lvl8pPr marL="2776953" algn="l" defTabSz="793416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8pPr>
      <a:lvl9pPr marL="3173662" algn="l" defTabSz="793416" rtl="0" eaLnBrk="1" latinLnBrk="0" hangingPunct="1">
        <a:defRPr sz="15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69" y="178594"/>
            <a:ext cx="7358063" cy="1714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69" y="1946672"/>
            <a:ext cx="7358063" cy="40183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269049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</p:sldLayoutIdLst>
  <p:transition spd="med"/>
  <p:txStyles>
    <p:titleStyle>
      <a:lvl1pPr algn="ctr" defTabSz="410751">
        <a:defRPr sz="5625">
          <a:latin typeface="+mn-lt"/>
          <a:ea typeface="+mn-ea"/>
          <a:cs typeface="+mn-cs"/>
          <a:sym typeface="Helvetica Light"/>
        </a:defRPr>
      </a:lvl1pPr>
      <a:lvl2pPr indent="241093" algn="ctr" defTabSz="410751">
        <a:defRPr sz="5625">
          <a:latin typeface="+mn-lt"/>
          <a:ea typeface="+mn-ea"/>
          <a:cs typeface="+mn-cs"/>
          <a:sym typeface="Helvetica Light"/>
        </a:defRPr>
      </a:lvl2pPr>
      <a:lvl3pPr indent="482186" algn="ctr" defTabSz="410751">
        <a:defRPr sz="5625">
          <a:latin typeface="+mn-lt"/>
          <a:ea typeface="+mn-ea"/>
          <a:cs typeface="+mn-cs"/>
          <a:sym typeface="Helvetica Light"/>
        </a:defRPr>
      </a:lvl3pPr>
      <a:lvl4pPr indent="723279" algn="ctr" defTabSz="410751">
        <a:defRPr sz="5625">
          <a:latin typeface="+mn-lt"/>
          <a:ea typeface="+mn-ea"/>
          <a:cs typeface="+mn-cs"/>
          <a:sym typeface="Helvetica Light"/>
        </a:defRPr>
      </a:lvl4pPr>
      <a:lvl5pPr indent="964372" algn="ctr" defTabSz="410751">
        <a:defRPr sz="5625">
          <a:latin typeface="+mn-lt"/>
          <a:ea typeface="+mn-ea"/>
          <a:cs typeface="+mn-cs"/>
          <a:sym typeface="Helvetica Light"/>
        </a:defRPr>
      </a:lvl5pPr>
      <a:lvl6pPr indent="1205465" algn="ctr" defTabSz="410751">
        <a:defRPr sz="5625">
          <a:latin typeface="+mn-lt"/>
          <a:ea typeface="+mn-ea"/>
          <a:cs typeface="+mn-cs"/>
          <a:sym typeface="Helvetica Light"/>
        </a:defRPr>
      </a:lvl6pPr>
      <a:lvl7pPr indent="1446558" algn="ctr" defTabSz="410751">
        <a:defRPr sz="5625">
          <a:latin typeface="+mn-lt"/>
          <a:ea typeface="+mn-ea"/>
          <a:cs typeface="+mn-cs"/>
          <a:sym typeface="Helvetica Light"/>
        </a:defRPr>
      </a:lvl7pPr>
      <a:lvl8pPr indent="1687651" algn="ctr" defTabSz="410751">
        <a:defRPr sz="5625">
          <a:latin typeface="+mn-lt"/>
          <a:ea typeface="+mn-ea"/>
          <a:cs typeface="+mn-cs"/>
          <a:sym typeface="Helvetica Light"/>
        </a:defRPr>
      </a:lvl8pPr>
      <a:lvl9pPr indent="1928744" algn="ctr" defTabSz="410751">
        <a:defRPr sz="5625">
          <a:latin typeface="+mn-lt"/>
          <a:ea typeface="+mn-ea"/>
          <a:cs typeface="+mn-cs"/>
          <a:sym typeface="Helvetica Light"/>
        </a:defRPr>
      </a:lvl9pPr>
    </p:titleStyle>
    <p:bodyStyle>
      <a:lvl1pPr marL="267881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1pPr>
      <a:lvl2pPr marL="535762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2pPr>
      <a:lvl3pPr marL="803643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3pPr>
      <a:lvl4pPr marL="1071524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4pPr>
      <a:lvl5pPr marL="1339406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5pPr>
      <a:lvl6pPr marL="1607287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6pPr>
      <a:lvl7pPr marL="1875168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7pPr>
      <a:lvl8pPr marL="2143049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8pPr>
      <a:lvl9pPr marL="2410930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9pPr>
    </p:bodyStyle>
    <p:otherStyle>
      <a:lvl1pPr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1pPr>
      <a:lvl2pPr indent="241093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2pPr>
      <a:lvl3pPr indent="482186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3pPr>
      <a:lvl4pPr indent="723279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4pPr>
      <a:lvl5pPr indent="964372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5pPr>
      <a:lvl6pPr indent="1205465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6pPr>
      <a:lvl7pPr indent="1446558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7pPr>
      <a:lvl8pPr indent="1687651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8pPr>
      <a:lvl9pPr indent="1928744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69" y="178594"/>
            <a:ext cx="7358063" cy="1714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69" y="1946672"/>
            <a:ext cx="7358063" cy="40183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200745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</p:sldLayoutIdLst>
  <p:transition spd="med"/>
  <p:txStyles>
    <p:titleStyle>
      <a:lvl1pPr algn="ctr" defTabSz="410751">
        <a:defRPr sz="5625">
          <a:latin typeface="+mn-lt"/>
          <a:ea typeface="+mn-ea"/>
          <a:cs typeface="+mn-cs"/>
          <a:sym typeface="Helvetica Light"/>
        </a:defRPr>
      </a:lvl1pPr>
      <a:lvl2pPr indent="241093" algn="ctr" defTabSz="410751">
        <a:defRPr sz="5625">
          <a:latin typeface="+mn-lt"/>
          <a:ea typeface="+mn-ea"/>
          <a:cs typeface="+mn-cs"/>
          <a:sym typeface="Helvetica Light"/>
        </a:defRPr>
      </a:lvl2pPr>
      <a:lvl3pPr indent="482186" algn="ctr" defTabSz="410751">
        <a:defRPr sz="5625">
          <a:latin typeface="+mn-lt"/>
          <a:ea typeface="+mn-ea"/>
          <a:cs typeface="+mn-cs"/>
          <a:sym typeface="Helvetica Light"/>
        </a:defRPr>
      </a:lvl3pPr>
      <a:lvl4pPr indent="723279" algn="ctr" defTabSz="410751">
        <a:defRPr sz="5625">
          <a:latin typeface="+mn-lt"/>
          <a:ea typeface="+mn-ea"/>
          <a:cs typeface="+mn-cs"/>
          <a:sym typeface="Helvetica Light"/>
        </a:defRPr>
      </a:lvl4pPr>
      <a:lvl5pPr indent="964372" algn="ctr" defTabSz="410751">
        <a:defRPr sz="5625">
          <a:latin typeface="+mn-lt"/>
          <a:ea typeface="+mn-ea"/>
          <a:cs typeface="+mn-cs"/>
          <a:sym typeface="Helvetica Light"/>
        </a:defRPr>
      </a:lvl5pPr>
      <a:lvl6pPr indent="1205465" algn="ctr" defTabSz="410751">
        <a:defRPr sz="5625">
          <a:latin typeface="+mn-lt"/>
          <a:ea typeface="+mn-ea"/>
          <a:cs typeface="+mn-cs"/>
          <a:sym typeface="Helvetica Light"/>
        </a:defRPr>
      </a:lvl6pPr>
      <a:lvl7pPr indent="1446558" algn="ctr" defTabSz="410751">
        <a:defRPr sz="5625">
          <a:latin typeface="+mn-lt"/>
          <a:ea typeface="+mn-ea"/>
          <a:cs typeface="+mn-cs"/>
          <a:sym typeface="Helvetica Light"/>
        </a:defRPr>
      </a:lvl7pPr>
      <a:lvl8pPr indent="1687651" algn="ctr" defTabSz="410751">
        <a:defRPr sz="5625">
          <a:latin typeface="+mn-lt"/>
          <a:ea typeface="+mn-ea"/>
          <a:cs typeface="+mn-cs"/>
          <a:sym typeface="Helvetica Light"/>
        </a:defRPr>
      </a:lvl8pPr>
      <a:lvl9pPr indent="1928744" algn="ctr" defTabSz="410751">
        <a:defRPr sz="5625">
          <a:latin typeface="+mn-lt"/>
          <a:ea typeface="+mn-ea"/>
          <a:cs typeface="+mn-cs"/>
          <a:sym typeface="Helvetica Light"/>
        </a:defRPr>
      </a:lvl9pPr>
    </p:titleStyle>
    <p:bodyStyle>
      <a:lvl1pPr marL="267881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1pPr>
      <a:lvl2pPr marL="535762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2pPr>
      <a:lvl3pPr marL="803643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3pPr>
      <a:lvl4pPr marL="1071524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4pPr>
      <a:lvl5pPr marL="1339406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5pPr>
      <a:lvl6pPr marL="1607287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6pPr>
      <a:lvl7pPr marL="1875168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7pPr>
      <a:lvl8pPr marL="2143049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8pPr>
      <a:lvl9pPr marL="2410930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9pPr>
    </p:bodyStyle>
    <p:otherStyle>
      <a:lvl1pPr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1pPr>
      <a:lvl2pPr indent="241093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2pPr>
      <a:lvl3pPr indent="482186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3pPr>
      <a:lvl4pPr indent="723279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4pPr>
      <a:lvl5pPr indent="964372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5pPr>
      <a:lvl6pPr indent="1205465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6pPr>
      <a:lvl7pPr indent="1446558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7pPr>
      <a:lvl8pPr indent="1687651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8pPr>
      <a:lvl9pPr indent="1928744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69" y="178594"/>
            <a:ext cx="7358063" cy="1714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69" y="1946672"/>
            <a:ext cx="7358063" cy="40183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2773176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</p:sldLayoutIdLst>
  <p:transition spd="med"/>
  <p:txStyles>
    <p:titleStyle>
      <a:lvl1pPr algn="ctr" defTabSz="410751">
        <a:defRPr sz="5625">
          <a:latin typeface="+mn-lt"/>
          <a:ea typeface="+mn-ea"/>
          <a:cs typeface="+mn-cs"/>
          <a:sym typeface="Helvetica Light"/>
        </a:defRPr>
      </a:lvl1pPr>
      <a:lvl2pPr indent="241093" algn="ctr" defTabSz="410751">
        <a:defRPr sz="5625">
          <a:latin typeface="+mn-lt"/>
          <a:ea typeface="+mn-ea"/>
          <a:cs typeface="+mn-cs"/>
          <a:sym typeface="Helvetica Light"/>
        </a:defRPr>
      </a:lvl2pPr>
      <a:lvl3pPr indent="482186" algn="ctr" defTabSz="410751">
        <a:defRPr sz="5625">
          <a:latin typeface="+mn-lt"/>
          <a:ea typeface="+mn-ea"/>
          <a:cs typeface="+mn-cs"/>
          <a:sym typeface="Helvetica Light"/>
        </a:defRPr>
      </a:lvl3pPr>
      <a:lvl4pPr indent="723279" algn="ctr" defTabSz="410751">
        <a:defRPr sz="5625">
          <a:latin typeface="+mn-lt"/>
          <a:ea typeface="+mn-ea"/>
          <a:cs typeface="+mn-cs"/>
          <a:sym typeface="Helvetica Light"/>
        </a:defRPr>
      </a:lvl4pPr>
      <a:lvl5pPr indent="964372" algn="ctr" defTabSz="410751">
        <a:defRPr sz="5625">
          <a:latin typeface="+mn-lt"/>
          <a:ea typeface="+mn-ea"/>
          <a:cs typeface="+mn-cs"/>
          <a:sym typeface="Helvetica Light"/>
        </a:defRPr>
      </a:lvl5pPr>
      <a:lvl6pPr indent="1205465" algn="ctr" defTabSz="410751">
        <a:defRPr sz="5625">
          <a:latin typeface="+mn-lt"/>
          <a:ea typeface="+mn-ea"/>
          <a:cs typeface="+mn-cs"/>
          <a:sym typeface="Helvetica Light"/>
        </a:defRPr>
      </a:lvl6pPr>
      <a:lvl7pPr indent="1446558" algn="ctr" defTabSz="410751">
        <a:defRPr sz="5625">
          <a:latin typeface="+mn-lt"/>
          <a:ea typeface="+mn-ea"/>
          <a:cs typeface="+mn-cs"/>
          <a:sym typeface="Helvetica Light"/>
        </a:defRPr>
      </a:lvl7pPr>
      <a:lvl8pPr indent="1687651" algn="ctr" defTabSz="410751">
        <a:defRPr sz="5625">
          <a:latin typeface="+mn-lt"/>
          <a:ea typeface="+mn-ea"/>
          <a:cs typeface="+mn-cs"/>
          <a:sym typeface="Helvetica Light"/>
        </a:defRPr>
      </a:lvl8pPr>
      <a:lvl9pPr indent="1928744" algn="ctr" defTabSz="410751">
        <a:defRPr sz="5625">
          <a:latin typeface="+mn-lt"/>
          <a:ea typeface="+mn-ea"/>
          <a:cs typeface="+mn-cs"/>
          <a:sym typeface="Helvetica Light"/>
        </a:defRPr>
      </a:lvl9pPr>
    </p:titleStyle>
    <p:bodyStyle>
      <a:lvl1pPr marL="267881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1pPr>
      <a:lvl2pPr marL="535762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2pPr>
      <a:lvl3pPr marL="803643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3pPr>
      <a:lvl4pPr marL="1071524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4pPr>
      <a:lvl5pPr marL="1339406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5pPr>
      <a:lvl6pPr marL="1607287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6pPr>
      <a:lvl7pPr marL="1875168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7pPr>
      <a:lvl8pPr marL="2143049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8pPr>
      <a:lvl9pPr marL="2410930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9pPr>
    </p:bodyStyle>
    <p:otherStyle>
      <a:lvl1pPr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1pPr>
      <a:lvl2pPr indent="241093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2pPr>
      <a:lvl3pPr indent="482186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3pPr>
      <a:lvl4pPr indent="723279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4pPr>
      <a:lvl5pPr indent="964372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5pPr>
      <a:lvl6pPr indent="1205465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6pPr>
      <a:lvl7pPr indent="1446558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7pPr>
      <a:lvl8pPr indent="1687651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8pPr>
      <a:lvl9pPr indent="1928744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92969" y="178594"/>
            <a:ext cx="7358063" cy="17145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5625"/>
              <a:t>Titteltekst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92969" y="1946672"/>
            <a:ext cx="7358063" cy="40183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/>
            </a:pPr>
            <a:r>
              <a:rPr sz="2672"/>
              <a:t>Brødtekst nivå én</a:t>
            </a:r>
          </a:p>
          <a:p>
            <a:pPr lvl="1">
              <a:defRPr sz="1800"/>
            </a:pPr>
            <a:r>
              <a:rPr sz="2672"/>
              <a:t>Brødtekst nivå to</a:t>
            </a:r>
          </a:p>
          <a:p>
            <a:pPr lvl="2">
              <a:defRPr sz="1800"/>
            </a:pPr>
            <a:r>
              <a:rPr sz="2672"/>
              <a:t>Brødtekst nivå tre</a:t>
            </a:r>
          </a:p>
          <a:p>
            <a:pPr lvl="3">
              <a:defRPr sz="1800"/>
            </a:pPr>
            <a:r>
              <a:rPr sz="2672"/>
              <a:t>Brødtekst nivå fire</a:t>
            </a:r>
          </a:p>
          <a:p>
            <a:pPr lvl="4">
              <a:defRPr sz="1800"/>
            </a:pPr>
            <a:r>
              <a:rPr sz="2672"/>
              <a:t>Brødtekst nivå fem</a:t>
            </a:r>
          </a:p>
        </p:txBody>
      </p:sp>
    </p:spTree>
    <p:extLst>
      <p:ext uri="{BB962C8B-B14F-4D97-AF65-F5344CB8AC3E}">
        <p14:creationId xmlns:p14="http://schemas.microsoft.com/office/powerpoint/2010/main" val="3939520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</p:sldLayoutIdLst>
  <p:transition spd="med"/>
  <p:txStyles>
    <p:titleStyle>
      <a:lvl1pPr algn="ctr" defTabSz="410751">
        <a:defRPr sz="5625">
          <a:latin typeface="+mn-lt"/>
          <a:ea typeface="+mn-ea"/>
          <a:cs typeface="+mn-cs"/>
          <a:sym typeface="Helvetica Light"/>
        </a:defRPr>
      </a:lvl1pPr>
      <a:lvl2pPr indent="241093" algn="ctr" defTabSz="410751">
        <a:defRPr sz="5625">
          <a:latin typeface="+mn-lt"/>
          <a:ea typeface="+mn-ea"/>
          <a:cs typeface="+mn-cs"/>
          <a:sym typeface="Helvetica Light"/>
        </a:defRPr>
      </a:lvl2pPr>
      <a:lvl3pPr indent="482186" algn="ctr" defTabSz="410751">
        <a:defRPr sz="5625">
          <a:latin typeface="+mn-lt"/>
          <a:ea typeface="+mn-ea"/>
          <a:cs typeface="+mn-cs"/>
          <a:sym typeface="Helvetica Light"/>
        </a:defRPr>
      </a:lvl3pPr>
      <a:lvl4pPr indent="723279" algn="ctr" defTabSz="410751">
        <a:defRPr sz="5625">
          <a:latin typeface="+mn-lt"/>
          <a:ea typeface="+mn-ea"/>
          <a:cs typeface="+mn-cs"/>
          <a:sym typeface="Helvetica Light"/>
        </a:defRPr>
      </a:lvl4pPr>
      <a:lvl5pPr indent="964372" algn="ctr" defTabSz="410751">
        <a:defRPr sz="5625">
          <a:latin typeface="+mn-lt"/>
          <a:ea typeface="+mn-ea"/>
          <a:cs typeface="+mn-cs"/>
          <a:sym typeface="Helvetica Light"/>
        </a:defRPr>
      </a:lvl5pPr>
      <a:lvl6pPr indent="1205465" algn="ctr" defTabSz="410751">
        <a:defRPr sz="5625">
          <a:latin typeface="+mn-lt"/>
          <a:ea typeface="+mn-ea"/>
          <a:cs typeface="+mn-cs"/>
          <a:sym typeface="Helvetica Light"/>
        </a:defRPr>
      </a:lvl6pPr>
      <a:lvl7pPr indent="1446558" algn="ctr" defTabSz="410751">
        <a:defRPr sz="5625">
          <a:latin typeface="+mn-lt"/>
          <a:ea typeface="+mn-ea"/>
          <a:cs typeface="+mn-cs"/>
          <a:sym typeface="Helvetica Light"/>
        </a:defRPr>
      </a:lvl7pPr>
      <a:lvl8pPr indent="1687651" algn="ctr" defTabSz="410751">
        <a:defRPr sz="5625">
          <a:latin typeface="+mn-lt"/>
          <a:ea typeface="+mn-ea"/>
          <a:cs typeface="+mn-cs"/>
          <a:sym typeface="Helvetica Light"/>
        </a:defRPr>
      </a:lvl8pPr>
      <a:lvl9pPr indent="1928744" algn="ctr" defTabSz="410751">
        <a:defRPr sz="5625">
          <a:latin typeface="+mn-lt"/>
          <a:ea typeface="+mn-ea"/>
          <a:cs typeface="+mn-cs"/>
          <a:sym typeface="Helvetica Light"/>
        </a:defRPr>
      </a:lvl9pPr>
    </p:titleStyle>
    <p:bodyStyle>
      <a:lvl1pPr marL="267881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1pPr>
      <a:lvl2pPr marL="535762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2pPr>
      <a:lvl3pPr marL="803643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3pPr>
      <a:lvl4pPr marL="1071524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4pPr>
      <a:lvl5pPr marL="1339406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5pPr>
      <a:lvl6pPr marL="1607287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6pPr>
      <a:lvl7pPr marL="1875168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7pPr>
      <a:lvl8pPr marL="2143049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8pPr>
      <a:lvl9pPr marL="2410930" indent="-267881" defTabSz="410751">
        <a:spcBef>
          <a:spcPts val="2953"/>
        </a:spcBef>
        <a:buSzPct val="100000"/>
        <a:buChar char="•"/>
        <a:defRPr sz="2672">
          <a:latin typeface="+mn-lt"/>
          <a:ea typeface="+mn-ea"/>
          <a:cs typeface="+mn-cs"/>
          <a:sym typeface="Helvetica Light"/>
        </a:defRPr>
      </a:lvl9pPr>
    </p:bodyStyle>
    <p:otherStyle>
      <a:lvl1pPr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1pPr>
      <a:lvl2pPr indent="241093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2pPr>
      <a:lvl3pPr indent="482186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3pPr>
      <a:lvl4pPr indent="723279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4pPr>
      <a:lvl5pPr indent="964372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5pPr>
      <a:lvl6pPr indent="1205465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6pPr>
      <a:lvl7pPr indent="1446558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7pPr>
      <a:lvl8pPr indent="1687651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8pPr>
      <a:lvl9pPr indent="1928744" algn="ctr" defTabSz="410751">
        <a:defRPr>
          <a:solidFill>
            <a:schemeClr val="tx1"/>
          </a:solidFill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6.JPG"/><Relationship Id="rId4" Type="http://schemas.openxmlformats.org/officeDocument/2006/relationships/image" Target="../media/image2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30.png"/><Relationship Id="rId4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2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31.png"/><Relationship Id="rId4" Type="http://schemas.openxmlformats.org/officeDocument/2006/relationships/image" Target="../media/image2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hyperlink" Target="http://www.framtiden.no/" TargetMode="External"/><Relationship Id="rId5" Type="http://schemas.openxmlformats.org/officeDocument/2006/relationships/image" Target="../media/image10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8.tif"/><Relationship Id="rId5" Type="http://schemas.openxmlformats.org/officeDocument/2006/relationships/image" Target="../media/image17.pn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800" dirty="0" smtClean="0"/>
              <a:t>Arild Hermstad</a:t>
            </a:r>
            <a:endParaRPr lang="nb-NO" sz="4800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772816"/>
            <a:ext cx="4110608" cy="5085184"/>
          </a:xfrm>
        </p:spPr>
        <p:txBody>
          <a:bodyPr/>
          <a:lstStyle/>
          <a:p>
            <a:r>
              <a:rPr lang="nb-NO" sz="2400" dirty="0"/>
              <a:t>L</a:t>
            </a:r>
            <a:r>
              <a:rPr lang="nb-NO" sz="2400" dirty="0" smtClean="0"/>
              <a:t>eder </a:t>
            </a:r>
            <a:r>
              <a:rPr lang="nb-NO" sz="2400" dirty="0"/>
              <a:t>for Framtiden i våre </a:t>
            </a:r>
            <a:r>
              <a:rPr lang="nb-NO" sz="2400" dirty="0" smtClean="0"/>
              <a:t>hender</a:t>
            </a:r>
          </a:p>
          <a:p>
            <a:pPr marL="0" indent="0">
              <a:buNone/>
            </a:pPr>
            <a:endParaRPr lang="nb-NO" sz="2400" dirty="0" smtClean="0"/>
          </a:p>
          <a:p>
            <a:r>
              <a:rPr lang="nb-NO" sz="2400" dirty="0"/>
              <a:t>U</a:t>
            </a:r>
            <a:r>
              <a:rPr lang="nb-NO" sz="2400" dirty="0" smtClean="0"/>
              <a:t>tdannet </a:t>
            </a:r>
            <a:r>
              <a:rPr lang="nb-NO" sz="2400" dirty="0" err="1"/>
              <a:t>cand</a:t>
            </a:r>
            <a:r>
              <a:rPr lang="nb-NO" sz="2400" dirty="0"/>
              <a:t> </a:t>
            </a:r>
            <a:r>
              <a:rPr lang="nb-NO" sz="2400" dirty="0" err="1" smtClean="0"/>
              <a:t>polit</a:t>
            </a:r>
            <a:r>
              <a:rPr lang="nb-NO" sz="2400" dirty="0" err="1"/>
              <a:t>med</a:t>
            </a:r>
            <a:r>
              <a:rPr lang="nb-NO" sz="2400" dirty="0"/>
              <a:t> hovedfag i samfunnsgeografi </a:t>
            </a:r>
            <a:endParaRPr lang="nb-NO" sz="2400" dirty="0" smtClean="0"/>
          </a:p>
          <a:p>
            <a:pPr marL="0" indent="0">
              <a:buNone/>
            </a:pPr>
            <a:endParaRPr lang="nb-NO" sz="2400" dirty="0" smtClean="0"/>
          </a:p>
          <a:p>
            <a:r>
              <a:rPr lang="nb-NO" sz="2400" dirty="0" smtClean="0"/>
              <a:t>Økonomifag og naturvern</a:t>
            </a:r>
          </a:p>
          <a:p>
            <a:endParaRPr lang="nb-NO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3992" y="1844824"/>
            <a:ext cx="3095625" cy="3171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6699899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489948" y="116632"/>
            <a:ext cx="7886700" cy="994172"/>
          </a:xfrm>
        </p:spPr>
        <p:txBody>
          <a:bodyPr>
            <a:normAutofit/>
          </a:bodyPr>
          <a:lstStyle/>
          <a:p>
            <a:pPr algn="ctr"/>
            <a:r>
              <a:rPr lang="nb-NO" dirty="0" smtClean="0">
                <a:latin typeface="+mn-lt"/>
              </a:rPr>
              <a:t>Kåring av Norges dårligste emballasje</a:t>
            </a:r>
            <a:endParaRPr lang="nb-NO" b="1" dirty="0" smtClean="0">
              <a:solidFill>
                <a:srgbClr val="89A218"/>
              </a:solidFill>
              <a:latin typeface="+mn-lt"/>
            </a:endParaRPr>
          </a:p>
        </p:txBody>
      </p:sp>
      <p:sp>
        <p:nvSpPr>
          <p:cNvPr id="4" name="Plassholder for tekst 3"/>
          <p:cNvSpPr>
            <a:spLocks noGrp="1"/>
          </p:cNvSpPr>
          <p:nvPr>
            <p:ph type="body" idx="1"/>
          </p:nvPr>
        </p:nvSpPr>
        <p:spPr>
          <a:xfrm>
            <a:off x="2805969" y="2657353"/>
            <a:ext cx="5570679" cy="3806106"/>
          </a:xfrm>
        </p:spPr>
        <p:txBody>
          <a:bodyPr/>
          <a:lstStyle/>
          <a:p>
            <a:endParaRPr lang="nb-NO" dirty="0"/>
          </a:p>
        </p:txBody>
      </p:sp>
      <p:pic>
        <p:nvPicPr>
          <p:cNvPr id="14338" name="Bilde 7" descr="image00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91" y="692696"/>
            <a:ext cx="8784976" cy="4949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5161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Bilde 7" descr="image007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80" t="10185" r="9836"/>
          <a:stretch/>
        </p:blipFill>
        <p:spPr bwMode="auto">
          <a:xfrm>
            <a:off x="3463524" y="-57610"/>
            <a:ext cx="5601419" cy="6915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81953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552" y="662214"/>
            <a:ext cx="7886700" cy="994172"/>
          </a:xfrm>
        </p:spPr>
        <p:txBody>
          <a:bodyPr>
            <a:normAutofit/>
          </a:bodyPr>
          <a:lstStyle/>
          <a:p>
            <a:pPr algn="ctr"/>
            <a:r>
              <a:rPr lang="nb-NO" dirty="0" smtClean="0">
                <a:latin typeface="+mn-lt"/>
              </a:rPr>
              <a:t>Kåring av Norges dårligste emballasje</a:t>
            </a:r>
            <a:endParaRPr lang="nb-NO" b="1" dirty="0" smtClean="0">
              <a:solidFill>
                <a:srgbClr val="89A218"/>
              </a:solidFill>
              <a:latin typeface="+mn-lt"/>
            </a:endParaRPr>
          </a:p>
        </p:txBody>
      </p:sp>
      <p:pic>
        <p:nvPicPr>
          <p:cNvPr id="15362" name="Bilde 6" descr="image0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705372"/>
            <a:ext cx="9163751" cy="5152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0923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489948" y="116632"/>
            <a:ext cx="7886700" cy="994172"/>
          </a:xfrm>
        </p:spPr>
        <p:txBody>
          <a:bodyPr>
            <a:normAutofit/>
          </a:bodyPr>
          <a:lstStyle/>
          <a:p>
            <a:pPr algn="ctr"/>
            <a:r>
              <a:rPr lang="nb-NO" dirty="0" smtClean="0">
                <a:latin typeface="+mn-lt"/>
              </a:rPr>
              <a:t>Kåring av Norges dårligste emballasje</a:t>
            </a:r>
            <a:endParaRPr lang="nb-NO" b="1" dirty="0" smtClean="0">
              <a:solidFill>
                <a:srgbClr val="89A218"/>
              </a:solidFill>
              <a:latin typeface="+mn-lt"/>
            </a:endParaRPr>
          </a:p>
        </p:txBody>
      </p:sp>
      <p:pic>
        <p:nvPicPr>
          <p:cNvPr id="16386" name="Bilde 9" descr="image01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46"/>
          <a:stretch/>
        </p:blipFill>
        <p:spPr bwMode="auto">
          <a:xfrm>
            <a:off x="43632" y="1110804"/>
            <a:ext cx="9100368" cy="574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546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1223" y="116633"/>
            <a:ext cx="6884527" cy="6422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41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ChangeArrowheads="1"/>
          </p:cNvSpPr>
          <p:nvPr>
            <p:ph type="title"/>
          </p:nvPr>
        </p:nvSpPr>
        <p:spPr>
          <a:xfrm>
            <a:off x="611560" y="349573"/>
            <a:ext cx="7886700" cy="994172"/>
          </a:xfrm>
        </p:spPr>
        <p:txBody>
          <a:bodyPr>
            <a:normAutofit/>
          </a:bodyPr>
          <a:lstStyle/>
          <a:p>
            <a:pPr algn="ctr"/>
            <a:r>
              <a:rPr lang="nb-NO" b="1" dirty="0" smtClean="0">
                <a:solidFill>
                  <a:srgbClr val="89A218"/>
                </a:solidFill>
                <a:latin typeface="+mn-lt"/>
              </a:rPr>
              <a:t>Er forbruket vårt et miljøproblem?</a:t>
            </a:r>
          </a:p>
        </p:txBody>
      </p:sp>
      <p:graphicFrame>
        <p:nvGraphicFramePr>
          <p:cNvPr id="5" name="Plassholder for innhold 4"/>
          <p:cNvGraphicFramePr>
            <a:graphicFrameLocks noGrp="1"/>
          </p:cNvGraphicFramePr>
          <p:nvPr>
            <p:ph idx="1"/>
            <p:extLst/>
          </p:nvPr>
        </p:nvGraphicFramePr>
        <p:xfrm>
          <a:off x="1485900" y="2057401"/>
          <a:ext cx="6172200" cy="3394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Bild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1117223"/>
            <a:ext cx="7584018" cy="5336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773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image11.jp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61" name="Shape 61"/>
          <p:cNvSpPr/>
          <p:nvPr/>
        </p:nvSpPr>
        <p:spPr>
          <a:xfrm>
            <a:off x="0" y="457200"/>
            <a:ext cx="9144000" cy="15876"/>
          </a:xfrm>
          <a:prstGeom prst="rect">
            <a:avLst/>
          </a:prstGeom>
          <a:solidFill/>
          <a:ln w="13546">
            <a:solidFill/>
            <a:miter/>
          </a:ln>
        </p:spPr>
        <p:txBody>
          <a:bodyPr lIns="50799" tIns="50799" rIns="50799" bIns="50799" anchor="ctr"/>
          <a:lstStyle/>
          <a:p>
            <a:pPr algn="ctr" defTabSz="584179">
              <a:defRPr sz="3413">
                <a:solidFill>
                  <a:srgbClr val="FFFFFF"/>
                </a:solidFill>
              </a:defRPr>
            </a:pPr>
            <a:endParaRPr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62" name="Shape 62"/>
          <p:cNvSpPr/>
          <p:nvPr/>
        </p:nvSpPr>
        <p:spPr>
          <a:xfrm>
            <a:off x="0" y="-2151807"/>
            <a:ext cx="9144000" cy="43036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88900" tIns="50799" rIns="88900" bIns="50799" anchor="ctr">
            <a:spAutoFit/>
          </a:bodyPr>
          <a:lstStyle/>
          <a:p>
            <a:pPr algn="l" defTabSz="914367">
              <a:defRPr sz="1800"/>
            </a:pPr>
            <a:endParaRPr sz="1800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1800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 </a:t>
            </a:r>
            <a:endParaRPr sz="23699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23699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63" name="image52-1.jpg"/>
          <p:cNvPicPr/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0" y="0"/>
            <a:ext cx="9180513" cy="63246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506973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image11.jp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Shape 62"/>
          <p:cNvSpPr/>
          <p:nvPr/>
        </p:nvSpPr>
        <p:spPr>
          <a:xfrm>
            <a:off x="0" y="-2151807"/>
            <a:ext cx="9144000" cy="43036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88900" tIns="50799" rIns="88900" bIns="50799" anchor="ctr">
            <a:spAutoFit/>
          </a:bodyPr>
          <a:lstStyle/>
          <a:p>
            <a:pPr algn="l" defTabSz="914367">
              <a:defRPr sz="1800"/>
            </a:pPr>
            <a:endParaRPr sz="1800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1800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 </a:t>
            </a:r>
            <a:endParaRPr sz="23699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23699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50" t="6601"/>
          <a:stretch/>
        </p:blipFill>
        <p:spPr>
          <a:xfrm rot="5400000">
            <a:off x="1381525" y="519711"/>
            <a:ext cx="6936475" cy="5740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1831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image11.jp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Shape 62"/>
          <p:cNvSpPr/>
          <p:nvPr/>
        </p:nvSpPr>
        <p:spPr>
          <a:xfrm>
            <a:off x="0" y="-2151807"/>
            <a:ext cx="9144000" cy="43036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88900" tIns="50799" rIns="88900" bIns="50799" anchor="ctr">
            <a:spAutoFit/>
          </a:bodyPr>
          <a:lstStyle/>
          <a:p>
            <a:pPr algn="l" defTabSz="914367">
              <a:defRPr sz="1800"/>
            </a:pPr>
            <a:endParaRPr sz="1800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1800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 </a:t>
            </a:r>
            <a:endParaRPr sz="23699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23699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63688" y="3300956"/>
            <a:ext cx="6096000" cy="3638550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36512" y="5740"/>
            <a:ext cx="4191000" cy="3143250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56758" y="-1"/>
            <a:ext cx="4198654" cy="3148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21070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image11.jp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Shape 62"/>
          <p:cNvSpPr/>
          <p:nvPr/>
        </p:nvSpPr>
        <p:spPr>
          <a:xfrm>
            <a:off x="0" y="-2151807"/>
            <a:ext cx="9144000" cy="43036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88900" tIns="50799" rIns="88900" bIns="50799" anchor="ctr">
            <a:spAutoFit/>
          </a:bodyPr>
          <a:lstStyle/>
          <a:p>
            <a:pPr algn="l" defTabSz="914367">
              <a:defRPr sz="1800"/>
            </a:pPr>
            <a:endParaRPr sz="1800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1800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 </a:t>
            </a:r>
            <a:endParaRPr sz="23699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23699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2383" y="-21572"/>
            <a:ext cx="8353261" cy="6423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37742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Shape 63"/>
          <p:cNvSpPr>
            <a:spLocks noGrp="1"/>
          </p:cNvSpPr>
          <p:nvPr>
            <p:ph type="title"/>
          </p:nvPr>
        </p:nvSpPr>
        <p:spPr>
          <a:xfrm>
            <a:off x="179511" y="4437112"/>
            <a:ext cx="8964489" cy="1008063"/>
          </a:xfrm>
          <a:prstGeom prst="rect">
            <a:avLst/>
          </a:prstGeom>
        </p:spPr>
        <p:txBody>
          <a:bodyPr lIns="0" tIns="0" rIns="0" bIns="0">
            <a:normAutofit fontScale="90000"/>
          </a:bodyPr>
          <a:lstStyle/>
          <a:p>
            <a:pPr lvl="0">
              <a:defRPr sz="1800" b="0">
                <a:solidFill>
                  <a:srgbClr val="000000"/>
                </a:solidFill>
              </a:defRPr>
            </a:pPr>
            <a:r>
              <a:rPr lang="nb-NO" sz="4000" b="0" dirty="0" smtClean="0">
                <a:solidFill>
                  <a:srgbClr val="000000"/>
                </a:solidFill>
                <a:latin typeface="Verdana Bold"/>
                <a:ea typeface="Verdana Bold"/>
                <a:cs typeface="Verdana Bold"/>
              </a:rPr>
              <a:t>Trenger vi emballasje i kretsløpssamfunnet?</a:t>
            </a:r>
            <a:endParaRPr sz="2000" dirty="0">
              <a:solidFill>
                <a:srgbClr val="89A218"/>
              </a:solidFill>
              <a:latin typeface="Verdana Bold"/>
              <a:ea typeface="Verdana Bold"/>
              <a:cs typeface="Verdana Bold"/>
              <a:sym typeface="Verdana Bold"/>
            </a:endParaRPr>
          </a:p>
        </p:txBody>
      </p:sp>
      <p:sp>
        <p:nvSpPr>
          <p:cNvPr id="64" name="Shape 64"/>
          <p:cNvSpPr>
            <a:spLocks noGrp="1"/>
          </p:cNvSpPr>
          <p:nvPr>
            <p:ph type="body" idx="1"/>
          </p:nvPr>
        </p:nvSpPr>
        <p:spPr>
          <a:xfrm>
            <a:off x="213838" y="5877272"/>
            <a:ext cx="6386512" cy="2825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defTabSz="676655">
              <a:spcBef>
                <a:spcPts val="200"/>
              </a:spcBef>
              <a:defRPr sz="1184">
                <a:latin typeface="Verdana Bold"/>
                <a:ea typeface="Verdana Bold"/>
                <a:cs typeface="Verdana Bold"/>
                <a:sym typeface="Verdana Bold"/>
              </a:defRPr>
            </a:lvl1pPr>
          </a:lstStyle>
          <a:p>
            <a:pPr lvl="0">
              <a:defRPr sz="1800"/>
            </a:pPr>
            <a:r>
              <a:rPr lang="nb-NO" sz="2000" dirty="0" smtClean="0"/>
              <a:t>Arild Hermstad, leder</a:t>
            </a:r>
            <a:endParaRPr sz="200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image11.jp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Shape 62"/>
          <p:cNvSpPr/>
          <p:nvPr/>
        </p:nvSpPr>
        <p:spPr>
          <a:xfrm>
            <a:off x="0" y="-2151807"/>
            <a:ext cx="9144000" cy="43036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88900" tIns="50799" rIns="88900" bIns="50799" anchor="ctr">
            <a:spAutoFit/>
          </a:bodyPr>
          <a:lstStyle/>
          <a:p>
            <a:pPr algn="l" defTabSz="914367">
              <a:defRPr sz="1800"/>
            </a:pPr>
            <a:endParaRPr sz="1800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1800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 </a:t>
            </a:r>
            <a:endParaRPr sz="23699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23699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sp>
        <p:nvSpPr>
          <p:cNvPr id="3" name="TekstSylinder 2"/>
          <p:cNvSpPr txBox="1"/>
          <p:nvPr/>
        </p:nvSpPr>
        <p:spPr>
          <a:xfrm>
            <a:off x="827584" y="663079"/>
            <a:ext cx="7488832" cy="3980577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b-NO" sz="3600" dirty="0"/>
              <a:t>7 prosent av verdens </a:t>
            </a:r>
            <a:r>
              <a:rPr lang="nb-NO" sz="3600" dirty="0" smtClean="0"/>
              <a:t>petroleums-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b-NO" sz="3600" dirty="0" smtClean="0"/>
              <a:t>forbruk </a:t>
            </a:r>
            <a:r>
              <a:rPr lang="nb-NO" sz="3600" dirty="0"/>
              <a:t>er knyttet til plast og </a:t>
            </a:r>
            <a:r>
              <a:rPr lang="nb-NO" sz="3600" dirty="0" smtClean="0"/>
              <a:t>plast-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b-NO" sz="3600" dirty="0" smtClean="0"/>
              <a:t>produksjon</a:t>
            </a:r>
            <a:endParaRPr lang="nb-NO" sz="3600" dirty="0"/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nb-NO" sz="3600" dirty="0" smtClean="0"/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b-NO" sz="3600" dirty="0" smtClean="0"/>
              <a:t>Det gir utslipp </a:t>
            </a:r>
            <a:r>
              <a:rPr lang="nb-NO" sz="3600" dirty="0"/>
              <a:t>på verdensbasis på </a:t>
            </a:r>
            <a:endParaRPr lang="nb-NO" sz="3600" dirty="0" smtClean="0"/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b-NO" sz="3600" dirty="0" smtClean="0"/>
              <a:t>over </a:t>
            </a:r>
            <a:r>
              <a:rPr lang="nb-NO" sz="3600" dirty="0"/>
              <a:t>en milliard tonn CO2 hvert år</a:t>
            </a:r>
            <a:r>
              <a:rPr lang="nb-NO" sz="3600" dirty="0" smtClean="0"/>
              <a:t>. </a:t>
            </a:r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nb-NO" sz="1200" dirty="0" smtClean="0"/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nb-NO" sz="1200" dirty="0"/>
          </a:p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b-NO" sz="1200" dirty="0" smtClean="0"/>
              <a:t>Kilde: Zero</a:t>
            </a:r>
            <a:endParaRPr kumimoji="0" lang="nb-NO" sz="12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38745461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60" name="image11.jp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62" name="Shape 62"/>
          <p:cNvSpPr/>
          <p:nvPr/>
        </p:nvSpPr>
        <p:spPr>
          <a:xfrm>
            <a:off x="0" y="-2151807"/>
            <a:ext cx="9144000" cy="430361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88900" tIns="50799" rIns="88900" bIns="50799" anchor="ctr">
            <a:spAutoFit/>
          </a:bodyPr>
          <a:lstStyle/>
          <a:p>
            <a:pPr algn="l" defTabSz="914367">
              <a:defRPr sz="1800"/>
            </a:pPr>
            <a:endParaRPr sz="1800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1800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 </a:t>
            </a:r>
            <a:endParaRPr sz="23699">
              <a:uFill>
                <a:solidFill/>
              </a:uFill>
              <a:latin typeface="Arial"/>
              <a:ea typeface="Arial"/>
              <a:cs typeface="Arial"/>
              <a:sym typeface="Arial"/>
            </a:endParaRPr>
          </a:p>
          <a:p>
            <a:pPr algn="l" defTabSz="914367">
              <a:defRPr sz="1800"/>
            </a:pPr>
            <a:r>
              <a:rPr sz="23699">
                <a:uFill>
                  <a:solidFill/>
                </a:uFill>
                <a:latin typeface="Arial"/>
                <a:ea typeface="Arial"/>
                <a:cs typeface="Arial"/>
                <a:sym typeface="Arial"/>
              </a:rPr>
              <a:t> </a:t>
            </a: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76061" y="209071"/>
            <a:ext cx="7920880" cy="4460141"/>
          </a:xfrm>
          <a:prstGeom prst="rect">
            <a:avLst/>
          </a:prstGeom>
        </p:spPr>
      </p:pic>
      <p:sp>
        <p:nvSpPr>
          <p:cNvPr id="4" name="TekstSylinder 3"/>
          <p:cNvSpPr txBox="1"/>
          <p:nvPr/>
        </p:nvSpPr>
        <p:spPr>
          <a:xfrm>
            <a:off x="538869" y="5137145"/>
            <a:ext cx="7540526" cy="810478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50800" tIns="50800" rIns="50800" bIns="50800" numCol="1" spcCol="38100" rtlCol="0" anchor="ctr"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b-NO" sz="3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Fremtidens flasker lages av planter?</a:t>
            </a:r>
            <a:br>
              <a:rPr kumimoji="0" lang="nb-NO" sz="3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</a:br>
            <a:r>
              <a:rPr kumimoji="0" lang="nb-NO" sz="10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rPr>
              <a:t>Foto: Coca Cola Norge</a:t>
            </a:r>
            <a:endParaRPr kumimoji="0" lang="nb-NO" sz="10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53571945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2" name="image1.jpg"/>
          <p:cNvPicPr/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173" name="image2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174" name="Shape 174"/>
          <p:cNvSpPr>
            <a:spLocks noGrp="1"/>
          </p:cNvSpPr>
          <p:nvPr>
            <p:ph type="title"/>
          </p:nvPr>
        </p:nvSpPr>
        <p:spPr>
          <a:xfrm>
            <a:off x="1115615" y="332656"/>
            <a:ext cx="8033787" cy="1143001"/>
          </a:xfrm>
          <a:prstGeom prst="rect">
            <a:avLst/>
          </a:prstGeom>
        </p:spPr>
        <p:txBody>
          <a:bodyPr lIns="88900" tIns="50799" rIns="88900" bIns="50799" anchor="t">
            <a:normAutofit/>
          </a:bodyPr>
          <a:lstStyle>
            <a:lvl1pPr algn="l" defTabSz="1300480">
              <a:defRPr sz="3982" b="1">
                <a:solidFill>
                  <a:srgbClr val="89A218"/>
                </a:solidFill>
                <a:uFill>
                  <a:solidFill>
                    <a:srgbClr val="89A218"/>
                  </a:solidFill>
                </a:uFill>
                <a:latin typeface="ArialUnicodeMS"/>
                <a:ea typeface="ArialUnicodeMS"/>
                <a:cs typeface="ArialUnicodeMS"/>
                <a:sym typeface="ArialUnicodeMS"/>
              </a:defRPr>
            </a:lvl1pPr>
          </a:lstStyle>
          <a:p>
            <a:pPr lvl="0">
              <a:defRPr sz="1800" b="0">
                <a:solidFill>
                  <a:srgbClr val="000000"/>
                </a:solidFill>
                <a:uFillTx/>
              </a:defRPr>
            </a:pPr>
            <a:r>
              <a:rPr sz="2800" dirty="0" err="1"/>
              <a:t>Hvor</a:t>
            </a:r>
            <a:r>
              <a:rPr sz="2800" dirty="0"/>
              <a:t> </a:t>
            </a:r>
            <a:r>
              <a:rPr sz="2800" dirty="0" err="1"/>
              <a:t>ble</a:t>
            </a:r>
            <a:r>
              <a:rPr sz="2800" dirty="0"/>
              <a:t> </a:t>
            </a:r>
            <a:r>
              <a:rPr sz="2800" dirty="0" err="1"/>
              <a:t>det</a:t>
            </a:r>
            <a:r>
              <a:rPr sz="2800" dirty="0"/>
              <a:t> </a:t>
            </a:r>
            <a:r>
              <a:rPr sz="2800" dirty="0" err="1"/>
              <a:t>av</a:t>
            </a:r>
            <a:r>
              <a:rPr sz="2800" dirty="0"/>
              <a:t> </a:t>
            </a:r>
            <a:r>
              <a:rPr sz="2800" dirty="0" err="1"/>
              <a:t>selskaper</a:t>
            </a:r>
            <a:r>
              <a:rPr sz="2800" dirty="0"/>
              <a:t> </a:t>
            </a:r>
            <a:r>
              <a:rPr sz="2800" dirty="0" err="1"/>
              <a:t>som</a:t>
            </a:r>
            <a:r>
              <a:rPr sz="2800" dirty="0"/>
              <a:t> </a:t>
            </a:r>
            <a:r>
              <a:rPr sz="2800" dirty="0" err="1" smtClean="0"/>
              <a:t>solgte</a:t>
            </a:r>
            <a:r>
              <a:rPr lang="nb-NO" sz="2800" dirty="0" smtClean="0"/>
              <a:t> disse</a:t>
            </a:r>
            <a:r>
              <a:rPr sz="2800" dirty="0" smtClean="0"/>
              <a:t>?</a:t>
            </a:r>
            <a:endParaRPr sz="2800" dirty="0"/>
          </a:p>
        </p:txBody>
      </p:sp>
      <p:pic>
        <p:nvPicPr>
          <p:cNvPr id="175" name="image44.pn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0" y="1196752"/>
            <a:ext cx="9108504" cy="459444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7158225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Grp="1" noChangeAspect="1" noChangeArrowheads="1"/>
          </p:cNvPicPr>
          <p:nvPr>
            <p:ph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6" t="3280" r="2219" b="10157"/>
          <a:stretch/>
        </p:blipFill>
        <p:spPr bwMode="auto">
          <a:xfrm>
            <a:off x="-21189" y="0"/>
            <a:ext cx="9193440" cy="6381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481818" y="1142759"/>
            <a:ext cx="6172200" cy="857250"/>
          </a:xfrm>
        </p:spPr>
        <p:txBody>
          <a:bodyPr/>
          <a:lstStyle/>
          <a:p>
            <a:r>
              <a:rPr lang="nb-NO" sz="3000" dirty="0">
                <a:solidFill>
                  <a:schemeClr val="bg1"/>
                </a:solidFill>
                <a:latin typeface="+mn-lt"/>
              </a:rPr>
              <a:t>Takk for meg!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228184" y="4000018"/>
            <a:ext cx="2074894" cy="13272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nb-NO" sz="1800" b="1" dirty="0"/>
              <a:t>Bli medlem!</a:t>
            </a:r>
          </a:p>
          <a:p>
            <a:pPr marL="257175" lvl="1" indent="-257175">
              <a:buFont typeface="Arial" pitchFamily="34" charset="0"/>
              <a:buChar char="•"/>
            </a:pPr>
            <a:r>
              <a:rPr lang="nb-NO" sz="1800" b="1" dirty="0" err="1"/>
              <a:t>Sms</a:t>
            </a:r>
            <a:r>
              <a:rPr lang="nb-NO" sz="1800" b="1" dirty="0"/>
              <a:t>: [Fram] til 2300 (245,-)</a:t>
            </a:r>
          </a:p>
          <a:p>
            <a:pPr marL="257175" lvl="1" indent="-257175">
              <a:buFont typeface="Arial" pitchFamily="34" charset="0"/>
              <a:buChar char="•"/>
            </a:pPr>
            <a:r>
              <a:rPr lang="nb-NO" sz="1800" b="1" dirty="0"/>
              <a:t>Framtiden.no</a:t>
            </a:r>
          </a:p>
          <a:p>
            <a:endParaRPr lang="nb-NO" sz="825" dirty="0"/>
          </a:p>
        </p:txBody>
      </p:sp>
      <p:sp>
        <p:nvSpPr>
          <p:cNvPr id="4" name="TextBox 3"/>
          <p:cNvSpPr txBox="1"/>
          <p:nvPr/>
        </p:nvSpPr>
        <p:spPr>
          <a:xfrm>
            <a:off x="1739195" y="5084931"/>
            <a:ext cx="259228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500" b="1" dirty="0" smtClean="0">
                <a:solidFill>
                  <a:schemeClr val="bg1"/>
                </a:solidFill>
              </a:rPr>
              <a:t>arild@framtiden.no</a:t>
            </a:r>
            <a:endParaRPr lang="nb-NO" sz="1500" b="1" dirty="0">
              <a:solidFill>
                <a:schemeClr val="bg1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39111" y="5589241"/>
            <a:ext cx="1004889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78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72" name="image2.jp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TekstSylinder 1"/>
          <p:cNvSpPr txBox="1"/>
          <p:nvPr/>
        </p:nvSpPr>
        <p:spPr>
          <a:xfrm>
            <a:off x="3059832" y="2204864"/>
            <a:ext cx="2354089" cy="1579920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algn="ctr" defTabSz="584200" rtl="0" latinLnBrk="1" hangingPunct="0"/>
            <a:r>
              <a:rPr lang="nb-NO" sz="9600" dirty="0" smtClean="0">
                <a:solidFill>
                  <a:srgbClr val="000000"/>
                </a:solidFill>
                <a:latin typeface="Helvetica Light"/>
                <a:ea typeface="+mn-ea"/>
                <a:cs typeface="+mn-cs"/>
                <a:sym typeface="Helvetica Light"/>
              </a:rPr>
              <a:t>JA!</a:t>
            </a:r>
            <a:endParaRPr lang="nb-NO" sz="9600" dirty="0">
              <a:solidFill>
                <a:srgbClr val="000000"/>
              </a:solidFill>
              <a:latin typeface="Helvetica Light"/>
              <a:ea typeface="+mn-ea"/>
              <a:cs typeface="+mn-cs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36938735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39" name="image2.jp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pic>
        <p:nvPicPr>
          <p:cNvPr id="40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7355"/>
            <a:ext cx="9179719" cy="870645"/>
          </a:xfrm>
          <a:prstGeom prst="rect">
            <a:avLst/>
          </a:prstGeom>
          <a:ln w="12700">
            <a:miter lim="400000"/>
          </a:ln>
        </p:spPr>
      </p:pic>
      <p:pic>
        <p:nvPicPr>
          <p:cNvPr id="41" name="image2.jpg"/>
          <p:cNvPicPr/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8228707" y="5700489"/>
            <a:ext cx="765721" cy="623963"/>
          </a:xfrm>
          <a:prstGeom prst="rect">
            <a:avLst/>
          </a:prstGeom>
          <a:ln w="12700">
            <a:miter lim="400000"/>
          </a:ln>
        </p:spPr>
      </p:pic>
      <p:sp>
        <p:nvSpPr>
          <p:cNvPr id="42" name="Shape 42"/>
          <p:cNvSpPr>
            <a:spLocks noGrp="1"/>
          </p:cNvSpPr>
          <p:nvPr>
            <p:ph type="body" idx="1"/>
          </p:nvPr>
        </p:nvSpPr>
        <p:spPr>
          <a:xfrm>
            <a:off x="3465833" y="1916832"/>
            <a:ext cx="4896819" cy="4754092"/>
          </a:xfrm>
          <a:prstGeom prst="rect">
            <a:avLst/>
          </a:prstGeom>
        </p:spPr>
        <p:txBody>
          <a:bodyPr lIns="88900" tIns="50799" rIns="88900" bIns="50799" anchor="t">
            <a:normAutofit/>
          </a:bodyPr>
          <a:lstStyle/>
          <a:p>
            <a:pPr marL="0" indent="0" defTabSz="912995">
              <a:lnSpc>
                <a:spcPct val="80000"/>
              </a:lnSpc>
              <a:spcBef>
                <a:spcPts val="281"/>
              </a:spcBef>
              <a:buSzTx/>
              <a:buNone/>
              <a:defRPr sz="1800"/>
            </a:pPr>
            <a:endParaRPr sz="2000" dirty="0">
              <a:uFill>
                <a:solidFill/>
              </a:uFill>
              <a:latin typeface="Verdana"/>
              <a:ea typeface="Verdana"/>
              <a:cs typeface="Verdana"/>
              <a:sym typeface="Verdana"/>
            </a:endParaRPr>
          </a:p>
          <a:p>
            <a:pPr marL="175392" indent="-175392" defTabSz="912995">
              <a:lnSpc>
                <a:spcPct val="80000"/>
              </a:lnSpc>
              <a:spcBef>
                <a:spcPts val="281"/>
              </a:spcBef>
              <a:buClr>
                <a:srgbClr val="000000"/>
              </a:buClr>
              <a:buFont typeface="ArialUnicodeMS"/>
              <a:defRPr sz="1800"/>
            </a:pPr>
            <a:r>
              <a:rPr sz="20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arbeider</a:t>
            </a: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for </a:t>
            </a:r>
            <a:r>
              <a:rPr sz="20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miljøvennlig</a:t>
            </a: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og </a:t>
            </a:r>
            <a:r>
              <a:rPr sz="20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etisk</a:t>
            </a: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sz="2000" dirty="0" err="1" smtClean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forbruk</a:t>
            </a:r>
            <a:r>
              <a:rPr sz="2000" dirty="0" smtClean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lang="nb-NO" sz="2000" dirty="0" smtClean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og r</a:t>
            </a:r>
            <a:r>
              <a:rPr sz="20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ettferdig</a:t>
            </a: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sz="20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fordeling</a:t>
            </a: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sz="20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av</a:t>
            </a: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sz="20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verdens</a:t>
            </a: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sz="20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ressurser</a:t>
            </a:r>
            <a:endParaRPr sz="2800" dirty="0">
              <a:uFill>
                <a:solidFill/>
              </a:uFill>
              <a:latin typeface="ArialUnicodeMS"/>
              <a:ea typeface="ArialUnicodeMS"/>
              <a:cs typeface="ArialUnicodeMS"/>
              <a:sym typeface="ArialUnicodeMS"/>
            </a:endParaRPr>
          </a:p>
          <a:p>
            <a:pPr marL="0" indent="0" defTabSz="912995">
              <a:lnSpc>
                <a:spcPct val="80000"/>
              </a:lnSpc>
              <a:spcBef>
                <a:spcPts val="281"/>
              </a:spcBef>
              <a:buSzTx/>
              <a:buNone/>
              <a:defRPr sz="1800"/>
            </a:pPr>
            <a:endParaRPr sz="2000" dirty="0">
              <a:uFill>
                <a:solidFill/>
              </a:uFill>
              <a:latin typeface="Verdana"/>
              <a:ea typeface="Verdana"/>
              <a:cs typeface="Verdana"/>
              <a:sym typeface="Verdana"/>
            </a:endParaRPr>
          </a:p>
          <a:p>
            <a:pPr marL="175392" indent="-175392" defTabSz="912995">
              <a:lnSpc>
                <a:spcPct val="80000"/>
              </a:lnSpc>
              <a:spcBef>
                <a:spcPts val="281"/>
              </a:spcBef>
              <a:buClr>
                <a:srgbClr val="000000"/>
              </a:buClr>
              <a:buFont typeface="ArialUnicodeMS"/>
              <a:defRPr sz="1800"/>
            </a:pP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20 </a:t>
            </a:r>
            <a:r>
              <a:rPr sz="20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lokallag</a:t>
            </a: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, </a:t>
            </a:r>
            <a:r>
              <a:rPr sz="2000" dirty="0" smtClean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2</a:t>
            </a:r>
            <a:r>
              <a:rPr lang="nb-NO" sz="2000" dirty="0" smtClean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5</a:t>
            </a:r>
            <a:r>
              <a:rPr sz="2000" dirty="0" smtClean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sz="20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000 </a:t>
            </a:r>
            <a:r>
              <a:rPr sz="2000" dirty="0" err="1" smtClean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medlemmer</a:t>
            </a:r>
            <a:r>
              <a:rPr sz="1800" dirty="0" smtClean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endParaRPr sz="2800" dirty="0">
              <a:uFill>
                <a:solidFill/>
              </a:uFill>
              <a:latin typeface="ArialUnicodeMS"/>
              <a:ea typeface="ArialUnicodeMS"/>
              <a:cs typeface="ArialUnicodeMS"/>
              <a:sym typeface="ArialUnicodeMS"/>
            </a:endParaRPr>
          </a:p>
          <a:p>
            <a:pPr marL="0" indent="0" defTabSz="912995">
              <a:lnSpc>
                <a:spcPct val="80000"/>
              </a:lnSpc>
              <a:spcBef>
                <a:spcPts val="281"/>
              </a:spcBef>
              <a:buSzTx/>
              <a:buNone/>
              <a:defRPr sz="1800"/>
            </a:pPr>
            <a:endParaRPr sz="1800" dirty="0">
              <a:uFill>
                <a:solidFill/>
              </a:uFill>
              <a:latin typeface="Verdana"/>
              <a:ea typeface="Verdana"/>
              <a:cs typeface="Verdana"/>
              <a:sym typeface="Verdana"/>
            </a:endParaRPr>
          </a:p>
          <a:p>
            <a:pPr marL="0" indent="0" defTabSz="912995">
              <a:lnSpc>
                <a:spcPct val="80000"/>
              </a:lnSpc>
              <a:spcBef>
                <a:spcPts val="281"/>
              </a:spcBef>
              <a:buSzTx/>
              <a:buNone/>
              <a:defRPr sz="1800"/>
            </a:pPr>
            <a:endParaRPr sz="1800" dirty="0">
              <a:uFill>
                <a:solidFill/>
              </a:uFill>
              <a:latin typeface="Verdana"/>
              <a:ea typeface="Verdana"/>
              <a:cs typeface="Verdana"/>
              <a:sym typeface="Verdana"/>
            </a:endParaRPr>
          </a:p>
          <a:p>
            <a:pPr marL="157853" indent="-157853" defTabSz="912995">
              <a:lnSpc>
                <a:spcPct val="80000"/>
              </a:lnSpc>
              <a:spcBef>
                <a:spcPts val="281"/>
              </a:spcBef>
              <a:buClr>
                <a:srgbClr val="000000"/>
              </a:buClr>
              <a:buFont typeface="ArialUnicodeMS"/>
              <a:defRPr sz="1800"/>
            </a:pPr>
            <a:r>
              <a:rPr sz="18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Bli</a:t>
            </a:r>
            <a:r>
              <a:rPr sz="18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med du </a:t>
            </a:r>
            <a:r>
              <a:rPr sz="18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også</a:t>
            </a:r>
            <a:r>
              <a:rPr sz="18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!</a:t>
            </a:r>
            <a:endParaRPr sz="2800" dirty="0">
              <a:uFill>
                <a:solidFill/>
              </a:uFill>
              <a:latin typeface="ArialUnicodeMS"/>
              <a:ea typeface="ArialUnicodeMS"/>
              <a:cs typeface="ArialUnicodeMS"/>
              <a:sym typeface="ArialUnicodeMS"/>
            </a:endParaRPr>
          </a:p>
          <a:p>
            <a:pPr marL="0" indent="0" defTabSz="912995">
              <a:lnSpc>
                <a:spcPct val="80000"/>
              </a:lnSpc>
              <a:spcBef>
                <a:spcPts val="281"/>
              </a:spcBef>
              <a:buSzTx/>
              <a:buNone/>
              <a:defRPr sz="1800"/>
            </a:pPr>
            <a:endParaRPr sz="1800" dirty="0">
              <a:uFill>
                <a:solidFill/>
              </a:uFill>
              <a:latin typeface="Verdana"/>
              <a:ea typeface="Verdana"/>
              <a:cs typeface="Verdana"/>
              <a:sym typeface="Verdana"/>
            </a:endParaRPr>
          </a:p>
          <a:p>
            <a:pPr marL="157853" indent="-157853" defTabSz="912995">
              <a:lnSpc>
                <a:spcPct val="80000"/>
              </a:lnSpc>
              <a:spcBef>
                <a:spcPts val="281"/>
              </a:spcBef>
              <a:buClr>
                <a:srgbClr val="000000"/>
              </a:buClr>
              <a:buFont typeface="ArialUnicodeMS"/>
              <a:defRPr sz="1800"/>
            </a:pPr>
            <a:r>
              <a:rPr sz="1800" u="sng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  <a:hlinkClick r:id="rId6"/>
              </a:rPr>
              <a:t>www.framtiden.no</a:t>
            </a:r>
            <a:endParaRPr lang="nb-NO" sz="1800" dirty="0">
              <a:uFill>
                <a:solidFill/>
              </a:uFill>
              <a:latin typeface="Verdana"/>
              <a:ea typeface="Verdana"/>
              <a:cs typeface="Verdana"/>
              <a:sym typeface="Verdana"/>
            </a:endParaRPr>
          </a:p>
          <a:p>
            <a:pPr marL="0" indent="0" defTabSz="912995">
              <a:lnSpc>
                <a:spcPct val="80000"/>
              </a:lnSpc>
              <a:spcBef>
                <a:spcPts val="281"/>
              </a:spcBef>
              <a:buClr>
                <a:srgbClr val="000000"/>
              </a:buClr>
              <a:buNone/>
              <a:defRPr sz="1800"/>
            </a:pPr>
            <a:endParaRPr lang="nb-NO" sz="1800" dirty="0" smtClean="0">
              <a:uFill>
                <a:solidFill/>
              </a:uFill>
              <a:latin typeface="Verdana"/>
              <a:ea typeface="Verdana"/>
              <a:cs typeface="Verdana"/>
              <a:sym typeface="Verdana"/>
            </a:endParaRPr>
          </a:p>
          <a:p>
            <a:pPr marL="0" indent="0" defTabSz="912995">
              <a:lnSpc>
                <a:spcPct val="80000"/>
              </a:lnSpc>
              <a:spcBef>
                <a:spcPts val="281"/>
              </a:spcBef>
              <a:buClr>
                <a:srgbClr val="000000"/>
              </a:buClr>
              <a:buNone/>
              <a:defRPr sz="1800"/>
            </a:pPr>
            <a:endParaRPr sz="1800" dirty="0">
              <a:uFill>
                <a:solidFill/>
              </a:uFill>
              <a:latin typeface="Verdana"/>
              <a:ea typeface="Verdana"/>
              <a:cs typeface="Verdana"/>
              <a:sym typeface="Verdana"/>
            </a:endParaRPr>
          </a:p>
          <a:p>
            <a:pPr marL="157853" indent="-157853" defTabSz="912995">
              <a:lnSpc>
                <a:spcPct val="80000"/>
              </a:lnSpc>
              <a:spcBef>
                <a:spcPts val="281"/>
              </a:spcBef>
              <a:buClr>
                <a:srgbClr val="000000"/>
              </a:buClr>
              <a:buFont typeface="ArialUnicodeMS"/>
              <a:defRPr sz="1800"/>
            </a:pPr>
            <a:r>
              <a:rPr sz="18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Lik</a:t>
            </a:r>
            <a:r>
              <a:rPr sz="18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sz="18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oss</a:t>
            </a:r>
            <a:r>
              <a:rPr sz="18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sz="18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på</a:t>
            </a:r>
            <a:r>
              <a:rPr sz="1800" dirty="0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 </a:t>
            </a:r>
            <a:r>
              <a:rPr sz="1800" dirty="0" err="1">
                <a:uFill>
                  <a:solidFill/>
                </a:uFill>
                <a:latin typeface="Verdana"/>
                <a:ea typeface="Verdana"/>
                <a:cs typeface="Verdana"/>
                <a:sym typeface="Verdana"/>
              </a:rPr>
              <a:t>facebook</a:t>
            </a:r>
            <a:endParaRPr sz="1800" dirty="0">
              <a:uFill>
                <a:solidFill/>
              </a:uFill>
              <a:latin typeface="Verdana"/>
              <a:ea typeface="Verdana"/>
              <a:cs typeface="Verdana"/>
              <a:sym typeface="Verdana"/>
            </a:endParaRPr>
          </a:p>
        </p:txBody>
      </p:sp>
      <p:pic>
        <p:nvPicPr>
          <p:cNvPr id="43" name="image6.png"/>
          <p:cNvPicPr/>
          <p:nvPr/>
        </p:nvPicPr>
        <p:blipFill>
          <a:blip r:embed="rId7">
            <a:extLst/>
          </a:blip>
          <a:stretch>
            <a:fillRect/>
          </a:stretch>
        </p:blipFill>
        <p:spPr>
          <a:xfrm>
            <a:off x="3058418" y="332631"/>
            <a:ext cx="5304234" cy="863947"/>
          </a:xfrm>
          <a:prstGeom prst="rect">
            <a:avLst/>
          </a:prstGeom>
          <a:ln w="12700">
            <a:miter lim="400000"/>
          </a:ln>
        </p:spPr>
      </p:pic>
      <p:pic>
        <p:nvPicPr>
          <p:cNvPr id="44" name="image7.jpg"/>
          <p:cNvPicPr/>
          <p:nvPr/>
        </p:nvPicPr>
        <p:blipFill>
          <a:blip r:embed="rId8">
            <a:extLst/>
          </a:blip>
          <a:stretch>
            <a:fillRect/>
          </a:stretch>
        </p:blipFill>
        <p:spPr>
          <a:xfrm>
            <a:off x="-1" y="0"/>
            <a:ext cx="2742532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26030728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096" y="0"/>
            <a:ext cx="9226025" cy="687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ktangel 1"/>
          <p:cNvSpPr/>
          <p:nvPr/>
        </p:nvSpPr>
        <p:spPr>
          <a:xfrm>
            <a:off x="708922" y="5318409"/>
            <a:ext cx="84249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4800" b="1" dirty="0" smtClean="0"/>
              <a:t>Vi kaster i gjennomsnitt </a:t>
            </a:r>
            <a:r>
              <a:rPr lang="nb-NO" sz="4800" b="1" dirty="0" err="1" smtClean="0"/>
              <a:t>ca</a:t>
            </a:r>
            <a:r>
              <a:rPr lang="nb-NO" sz="4800" b="1" dirty="0" smtClean="0"/>
              <a:t> 46 kg brukbar mat hvert år </a:t>
            </a:r>
            <a:endParaRPr lang="nb-NO" sz="4800" dirty="0"/>
          </a:p>
        </p:txBody>
      </p:sp>
    </p:spTree>
    <p:extLst>
      <p:ext uri="{BB962C8B-B14F-4D97-AF65-F5344CB8AC3E}">
        <p14:creationId xmlns:p14="http://schemas.microsoft.com/office/powerpoint/2010/main" val="46373523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5152" y="1609725"/>
            <a:ext cx="9169152" cy="5248275"/>
          </a:xfrm>
          <a:prstGeom prst="rect">
            <a:avLst/>
          </a:prstGeom>
        </p:spPr>
      </p:pic>
      <p:sp>
        <p:nvSpPr>
          <p:cNvPr id="4" name="TekstSylinder 3"/>
          <p:cNvSpPr txBox="1"/>
          <p:nvPr/>
        </p:nvSpPr>
        <p:spPr>
          <a:xfrm>
            <a:off x="6300192" y="1148062"/>
            <a:ext cx="2402259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nb-NO" sz="24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Univers LT 53 Extended"/>
                <a:ea typeface="Univers LT 53 Extended"/>
                <a:cs typeface="Univers LT 53 Extended"/>
                <a:sym typeface="Univers LT 53 Extended"/>
              </a:rPr>
              <a:t>Foto:</a:t>
            </a:r>
            <a:r>
              <a:rPr kumimoji="0" lang="nb-NO" sz="2400" b="0" i="0" u="none" strike="noStrike" cap="none" spc="0" normalizeH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Univers LT 53 Extended"/>
                <a:ea typeface="Univers LT 53 Extended"/>
                <a:cs typeface="Univers LT 53 Extended"/>
                <a:sym typeface="Univers LT 53 Extended"/>
              </a:rPr>
              <a:t> adressa.no</a:t>
            </a:r>
            <a:endParaRPr kumimoji="0" lang="nb-NO" sz="2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Univers LT 53 Extended"/>
              <a:ea typeface="Univers LT 53 Extended"/>
              <a:cs typeface="Univers LT 53 Extended"/>
              <a:sym typeface="Univers LT 53 Extended"/>
            </a:endParaRPr>
          </a:p>
        </p:txBody>
      </p:sp>
    </p:spTree>
    <p:extLst>
      <p:ext uri="{BB962C8B-B14F-4D97-AF65-F5344CB8AC3E}">
        <p14:creationId xmlns:p14="http://schemas.microsoft.com/office/powerpoint/2010/main" val="221136242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>
            <a:off x="179512" y="305168"/>
            <a:ext cx="8964488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 smtClean="0"/>
              <a:t>“All </a:t>
            </a:r>
            <a:r>
              <a:rPr lang="en-US" sz="3200" dirty="0"/>
              <a:t>the world's nearly one billion hungry people could be lifted out of malnourishment on less than a quarter of the food that is wasted in the US, UK and </a:t>
            </a:r>
            <a:r>
              <a:rPr lang="en-US" sz="3200" dirty="0" smtClean="0"/>
              <a:t>Europe”</a:t>
            </a:r>
            <a:endParaRPr lang="nb-NO" sz="3200" dirty="0"/>
          </a:p>
          <a:p>
            <a:endParaRPr lang="nb-NO" dirty="0"/>
          </a:p>
        </p:txBody>
      </p:sp>
      <p:sp>
        <p:nvSpPr>
          <p:cNvPr id="4" name="Rektangel 3"/>
          <p:cNvSpPr/>
          <p:nvPr/>
        </p:nvSpPr>
        <p:spPr>
          <a:xfrm>
            <a:off x="6228185" y="4869160"/>
            <a:ext cx="151216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 err="1"/>
              <a:t>Tristram</a:t>
            </a:r>
            <a:r>
              <a:rPr lang="nb-NO" dirty="0"/>
              <a:t> Stuart 2015</a:t>
            </a: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521" y="2492896"/>
            <a:ext cx="5820138" cy="4365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371926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/>
        </p:nvSpPr>
        <p:spPr>
          <a:xfrm>
            <a:off x="161987" y="-32951"/>
            <a:ext cx="8964488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 smtClean="0"/>
              <a:t>“If </a:t>
            </a:r>
            <a:r>
              <a:rPr lang="en-US" sz="3200" dirty="0"/>
              <a:t>we planted trees on land currently used to grow unnecessary surplus and wasted food, this would offset a theoretical maximum of 100% of greenhouse gas emissions from fossil fuel combustion</a:t>
            </a:r>
            <a:r>
              <a:rPr lang="en-US" sz="3200" dirty="0" smtClean="0"/>
              <a:t>.“</a:t>
            </a:r>
          </a:p>
          <a:p>
            <a:endParaRPr lang="en-US" sz="3200" dirty="0"/>
          </a:p>
        </p:txBody>
      </p:sp>
      <p:sp>
        <p:nvSpPr>
          <p:cNvPr id="4" name="Rektangel 3"/>
          <p:cNvSpPr/>
          <p:nvPr/>
        </p:nvSpPr>
        <p:spPr>
          <a:xfrm>
            <a:off x="6156176" y="5013176"/>
            <a:ext cx="169377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dirty="0" err="1"/>
              <a:t>Tristram</a:t>
            </a:r>
            <a:r>
              <a:rPr lang="nb-NO" dirty="0"/>
              <a:t> Stuart 2015</a:t>
            </a: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542338"/>
            <a:ext cx="5754216" cy="4315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52250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" name="image1.jpg"/>
          <p:cNvPicPr/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5988050"/>
            <a:ext cx="9180514" cy="869951"/>
          </a:xfrm>
          <a:prstGeom prst="rect">
            <a:avLst/>
          </a:prstGeom>
          <a:ln w="12700">
            <a:miter lim="400000"/>
          </a:ln>
        </p:spPr>
      </p:pic>
      <p:pic>
        <p:nvPicPr>
          <p:cNvPr id="72" name="image2.jpg"/>
          <p:cNvPicPr/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8229600" y="5700713"/>
            <a:ext cx="765176" cy="623888"/>
          </a:xfrm>
          <a:prstGeom prst="rect">
            <a:avLst/>
          </a:prstGeom>
          <a:ln w="12700">
            <a:miter lim="400000"/>
          </a:ln>
        </p:spPr>
      </p:pic>
      <p:pic>
        <p:nvPicPr>
          <p:cNvPr id="73" name="pasted-image.png"/>
          <p:cNvPicPr/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5845948" y="-32310"/>
            <a:ext cx="3437930" cy="4822032"/>
          </a:xfrm>
          <a:prstGeom prst="rect">
            <a:avLst/>
          </a:prstGeom>
          <a:ln w="12700">
            <a:miter lim="400000"/>
          </a:ln>
        </p:spPr>
      </p:pic>
      <p:pic>
        <p:nvPicPr>
          <p:cNvPr id="74" name="pasted-image.tif"/>
          <p:cNvPicPr/>
          <p:nvPr/>
        </p:nvPicPr>
        <p:blipFill>
          <a:blip r:embed="rId6">
            <a:extLst/>
          </a:blip>
          <a:stretch>
            <a:fillRect/>
          </a:stretch>
        </p:blipFill>
        <p:spPr>
          <a:xfrm>
            <a:off x="16682" y="2482295"/>
            <a:ext cx="6190789" cy="34831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26237464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ENT" val="&lt;content&gt;&#10;  &lt;element&gt;&#10;    &lt;prefix&gt;© &lt;/prefix&gt;&#10;    &lt;value&gt;%Date:yyyy%&lt;/value&gt;&#10;    &lt;postfix&gt;&lt;/postfix&gt;&#10;  &lt;/element&gt;&#10;  &lt;element&gt;&#10;    &lt;prefix&gt; &lt;/prefix&gt;&#10;    &lt;value&gt;%SD_USR_Identity%&lt;/value&gt;&#10;    &lt;postfix&gt;&lt;/postfix&gt;&#10;  &lt;/element&gt;&#10;&lt;/content&gt;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L9FEbGlEy1.VULeJ9jGw"/>
</p:tagLst>
</file>

<file path=ppt/theme/theme1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54C00"/>
      </a:accent1>
      <a:accent2>
        <a:srgbClr val="954900"/>
      </a:accent2>
      <a:accent3>
        <a:srgbClr val="FBF5E1"/>
      </a:accent3>
      <a:accent4>
        <a:srgbClr val="000000"/>
      </a:accent4>
      <a:accent5>
        <a:srgbClr val="F9B2AA"/>
      </a:accent5>
      <a:accent6>
        <a:srgbClr val="874100"/>
      </a:accent6>
      <a:hlink>
        <a:srgbClr val="0000FF"/>
      </a:hlink>
      <a:folHlink>
        <a:srgbClr val="FF00FF"/>
      </a:folHlink>
    </a:clrScheme>
    <a:fontScheme name="Default">
      <a:majorFont>
        <a:latin typeface="Avenir Roman"/>
        <a:ea typeface="Avenir Roman"/>
        <a:cs typeface="Avenir Roman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9EEC9"/>
        </a:solidFill>
        <a:ln w="25400" cap="flat">
          <a:solidFill>
            <a:srgbClr val="F54C00"/>
          </a:solidFill>
          <a:prstDash val="solid"/>
          <a:bevel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Univers LT 53 Extended"/>
            <a:ea typeface="Univers LT 53 Extended"/>
            <a:cs typeface="Univers LT 53 Extended"/>
            <a:sym typeface="Univers LT 53 Extend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F54C00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Univers LT 53 Extended"/>
            <a:ea typeface="Univers LT 53 Extended"/>
            <a:cs typeface="Univers LT 53 Extended"/>
            <a:sym typeface="Univers LT 53 Extend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Deloitte_Norge">
  <a:themeElements>
    <a:clrScheme name="Theme1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A1DE"/>
      </a:accent1>
      <a:accent2>
        <a:srgbClr val="81BC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BDD203"/>
      </a:accent6>
      <a:hlink>
        <a:srgbClr val="00A1DE"/>
      </a:hlink>
      <a:folHlink>
        <a:srgbClr val="72C7E7"/>
      </a:folHlink>
    </a:clrScheme>
    <a:fontScheme name="Theme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eme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42464D"/>
      </a:dk2>
      <a:lt2>
        <a:srgbClr val="D4D6D9"/>
      </a:lt2>
      <a:accent1>
        <a:srgbClr val="095CC4"/>
      </a:accent1>
      <a:accent2>
        <a:srgbClr val="1B8518"/>
      </a:accent2>
      <a:accent3>
        <a:srgbClr val="D3B21C"/>
      </a:accent3>
      <a:accent4>
        <a:srgbClr val="D45510"/>
      </a:accent4>
      <a:accent5>
        <a:srgbClr val="BA120A"/>
      </a:accent5>
      <a:accent6>
        <a:srgbClr val="62298A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95CC4"/>
        </a:solidFill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42464D"/>
      </a:dk2>
      <a:lt2>
        <a:srgbClr val="D4D6D9"/>
      </a:lt2>
      <a:accent1>
        <a:srgbClr val="095CC4"/>
      </a:accent1>
      <a:accent2>
        <a:srgbClr val="1B8518"/>
      </a:accent2>
      <a:accent3>
        <a:srgbClr val="D3B21C"/>
      </a:accent3>
      <a:accent4>
        <a:srgbClr val="D45510"/>
      </a:accent4>
      <a:accent5>
        <a:srgbClr val="BA120A"/>
      </a:accent5>
      <a:accent6>
        <a:srgbClr val="62298A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95CC4"/>
        </a:solidFill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2_White">
  <a:themeElements>
    <a:clrScheme name="White">
      <a:dk1>
        <a:srgbClr val="000000"/>
      </a:dk1>
      <a:lt1>
        <a:srgbClr val="FFFFFF"/>
      </a:lt1>
      <a:dk2>
        <a:srgbClr val="42464D"/>
      </a:dk2>
      <a:lt2>
        <a:srgbClr val="D4D6D9"/>
      </a:lt2>
      <a:accent1>
        <a:srgbClr val="095CC4"/>
      </a:accent1>
      <a:accent2>
        <a:srgbClr val="1B8518"/>
      </a:accent2>
      <a:accent3>
        <a:srgbClr val="D3B21C"/>
      </a:accent3>
      <a:accent4>
        <a:srgbClr val="D45510"/>
      </a:accent4>
      <a:accent5>
        <a:srgbClr val="BA120A"/>
      </a:accent5>
      <a:accent6>
        <a:srgbClr val="62298A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95CC4"/>
        </a:solidFill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3_White">
  <a:themeElements>
    <a:clrScheme name="White">
      <a:dk1>
        <a:srgbClr val="000000"/>
      </a:dk1>
      <a:lt1>
        <a:srgbClr val="FFFFFF"/>
      </a:lt1>
      <a:dk2>
        <a:srgbClr val="42464D"/>
      </a:dk2>
      <a:lt2>
        <a:srgbClr val="D4D6D9"/>
      </a:lt2>
      <a:accent1>
        <a:srgbClr val="095CC4"/>
      </a:accent1>
      <a:accent2>
        <a:srgbClr val="1B8518"/>
      </a:accent2>
      <a:accent3>
        <a:srgbClr val="D3B21C"/>
      </a:accent3>
      <a:accent4>
        <a:srgbClr val="D45510"/>
      </a:accent4>
      <a:accent5>
        <a:srgbClr val="BA120A"/>
      </a:accent5>
      <a:accent6>
        <a:srgbClr val="62298A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95CC4"/>
        </a:solidFill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7.xml><?xml version="1.0" encoding="utf-8"?>
<a:theme xmlns:a="http://schemas.openxmlformats.org/drawingml/2006/main" name="Default">
  <a:themeElements>
    <a:clrScheme name="Default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54C00"/>
      </a:accent1>
      <a:accent2>
        <a:srgbClr val="954900"/>
      </a:accent2>
      <a:accent3>
        <a:srgbClr val="FBF5E1"/>
      </a:accent3>
      <a:accent4>
        <a:srgbClr val="000000"/>
      </a:accent4>
      <a:accent5>
        <a:srgbClr val="F9B2AA"/>
      </a:accent5>
      <a:accent6>
        <a:srgbClr val="874100"/>
      </a:accent6>
      <a:hlink>
        <a:srgbClr val="0000FF"/>
      </a:hlink>
      <a:folHlink>
        <a:srgbClr val="FF00FF"/>
      </a:folHlink>
    </a:clrScheme>
    <a:fontScheme name="Default">
      <a:majorFont>
        <a:latin typeface="Avenir Roman"/>
        <a:ea typeface="Avenir Roman"/>
        <a:cs typeface="Avenir Roman"/>
      </a:majorFont>
      <a:minorFont>
        <a:latin typeface="Helvetica"/>
        <a:ea typeface="Helvetica"/>
        <a:cs typeface="Helvetica"/>
      </a:minorFont>
    </a:fontScheme>
    <a:fmtScheme name="Defaul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9EEC9"/>
        </a:solidFill>
        <a:ln w="25400" cap="flat">
          <a:solidFill>
            <a:srgbClr val="F54C00"/>
          </a:solidFill>
          <a:prstDash val="solid"/>
          <a:bevel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Univers LT 53 Extended"/>
            <a:ea typeface="Univers LT 53 Extended"/>
            <a:cs typeface="Univers LT 53 Extended"/>
            <a:sym typeface="Univers LT 53 Extend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F54C00"/>
          </a:solidFill>
          <a:prstDash val="solid"/>
          <a:bevel/>
        </a:ln>
        <a:effectLst>
          <a:outerShdw blurRad="38100" dist="20000" dir="5400000" rotWithShape="0">
            <a:srgbClr val="000000">
              <a:alpha val="38000"/>
            </a:srgbClr>
          </a:outerShdw>
        </a:effectLst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Univers LT 53 Extended"/>
            <a:ea typeface="Univers LT 53 Extended"/>
            <a:cs typeface="Univers LT 53 Extended"/>
            <a:sym typeface="Univers LT 53 Extended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514C9FB0303C0439D59847E7E489F09" ma:contentTypeVersion="1" ma:contentTypeDescription="Create a new document." ma:contentTypeScope="" ma:versionID="92261b5ca47745cb8db84f488183e3db">
  <xsd:schema xmlns:xsd="http://www.w3.org/2001/XMLSchema" xmlns:xs="http://www.w3.org/2001/XMLSchema" xmlns:p="http://schemas.microsoft.com/office/2006/metadata/properties" xmlns:ns3="307f699e-2272-4a9b-a950-ddbad496f050" targetNamespace="http://schemas.microsoft.com/office/2006/metadata/properties" ma:root="true" ma:fieldsID="a84f856e884d1d31ac1aac41a2feecee" ns3:_="">
    <xsd:import namespace="307f699e-2272-4a9b-a950-ddbad496f050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7f699e-2272-4a9b-a950-ddbad496f05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C7AE6A5-DA23-4E51-B995-321465DF22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07f699e-2272-4a9b-a950-ddbad496f05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DDEF473-594F-41C1-BC75-A491BBBD148D}">
  <ds:schemaRefs>
    <ds:schemaRef ds:uri="http://purl.org/dc/elements/1.1/"/>
    <ds:schemaRef ds:uri="307f699e-2272-4a9b-a950-ddbad496f050"/>
    <ds:schemaRef ds:uri="http://purl.org/dc/terms/"/>
    <ds:schemaRef ds:uri="http://schemas.microsoft.com/office/2006/metadata/properties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dcmitype/"/>
    <ds:schemaRef ds:uri="http://schemas.microsoft.com/office/2006/documentManagement/types"/>
  </ds:schemaRefs>
</ds:datastoreItem>
</file>

<file path=customXml/itemProps3.xml><?xml version="1.0" encoding="utf-8"?>
<ds:datastoreItem xmlns:ds="http://schemas.openxmlformats.org/officeDocument/2006/customXml" ds:itemID="{E85B3395-DCFF-4DA2-AC0E-CC0F54C6165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iljøvennlig mat - Oslo Vegetarfestival mai2015</Template>
  <TotalTime>195</TotalTime>
  <Words>1803</Words>
  <Application>Microsoft Office PowerPoint</Application>
  <PresentationFormat>Skjermfremvisning (4:3)</PresentationFormat>
  <Paragraphs>154</Paragraphs>
  <Slides>23</Slides>
  <Notes>17</Notes>
  <HiddenSlides>0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3</vt:i4>
      </vt:variant>
    </vt:vector>
  </HeadingPairs>
  <TitlesOfParts>
    <vt:vector size="30" baseType="lpstr">
      <vt:lpstr>Default</vt:lpstr>
      <vt:lpstr>Deloitte_Norge</vt:lpstr>
      <vt:lpstr>White</vt:lpstr>
      <vt:lpstr>1_White</vt:lpstr>
      <vt:lpstr>2_White</vt:lpstr>
      <vt:lpstr>3_White</vt:lpstr>
      <vt:lpstr>think-cell Slide</vt:lpstr>
      <vt:lpstr>Arild Hermstad</vt:lpstr>
      <vt:lpstr>Trenger vi emballasje i kretsløpssamfunnet?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Kåring av Norges dårligste emballasje</vt:lpstr>
      <vt:lpstr>PowerPoint-presentasjon</vt:lpstr>
      <vt:lpstr>Kåring av Norges dårligste emballasje</vt:lpstr>
      <vt:lpstr>Kåring av Norges dårligste emballasje</vt:lpstr>
      <vt:lpstr>PowerPoint-presentasjon</vt:lpstr>
      <vt:lpstr>Er forbruket vårt et miljøproblem?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Hvor ble det av selskaper som solgte disse?</vt:lpstr>
      <vt:lpstr>Takk for meg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vorfor billig mat er et problem</dc:title>
  <dc:creator>Christoffer Ringnes Klyve</dc:creator>
  <cp:lastModifiedBy>Per Øyvind Nordberg</cp:lastModifiedBy>
  <cp:revision>20</cp:revision>
  <dcterms:created xsi:type="dcterms:W3CDTF">2015-09-16T12:42:57Z</dcterms:created>
  <dcterms:modified xsi:type="dcterms:W3CDTF">2015-11-04T07:55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14C9FB0303C0439D59847E7E489F09</vt:lpwstr>
  </property>
</Properties>
</file>